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Lst>
  <p:notesMasterIdLst>
    <p:notesMasterId r:id="rId70"/>
  </p:notesMasterIdLst>
  <p:sldIdLst>
    <p:sldId id="393" r:id="rId2"/>
    <p:sldId id="265" r:id="rId3"/>
    <p:sldId id="384" r:id="rId4"/>
    <p:sldId id="411" r:id="rId5"/>
    <p:sldId id="412" r:id="rId6"/>
    <p:sldId id="413" r:id="rId7"/>
    <p:sldId id="415" r:id="rId8"/>
    <p:sldId id="416" r:id="rId9"/>
    <p:sldId id="2147479175" r:id="rId10"/>
    <p:sldId id="417" r:id="rId11"/>
    <p:sldId id="418" r:id="rId12"/>
    <p:sldId id="419" r:id="rId13"/>
    <p:sldId id="420" r:id="rId14"/>
    <p:sldId id="421" r:id="rId15"/>
    <p:sldId id="422" r:id="rId16"/>
    <p:sldId id="423" r:id="rId17"/>
    <p:sldId id="425" r:id="rId18"/>
    <p:sldId id="432" r:id="rId19"/>
    <p:sldId id="433" r:id="rId20"/>
    <p:sldId id="434" r:id="rId21"/>
    <p:sldId id="435" r:id="rId22"/>
    <p:sldId id="437" r:id="rId23"/>
    <p:sldId id="438" r:id="rId24"/>
    <p:sldId id="426" r:id="rId25"/>
    <p:sldId id="439" r:id="rId26"/>
    <p:sldId id="2147479138" r:id="rId27"/>
    <p:sldId id="2147479136" r:id="rId28"/>
    <p:sldId id="440" r:id="rId29"/>
    <p:sldId id="2147479139" r:id="rId30"/>
    <p:sldId id="428" r:id="rId31"/>
    <p:sldId id="2147479140" r:id="rId32"/>
    <p:sldId id="2147479142" r:id="rId33"/>
    <p:sldId id="2147479145" r:id="rId34"/>
    <p:sldId id="2147479143" r:id="rId35"/>
    <p:sldId id="2147479146" r:id="rId36"/>
    <p:sldId id="2147479147" r:id="rId37"/>
    <p:sldId id="2147479144" r:id="rId38"/>
    <p:sldId id="2147479174" r:id="rId39"/>
    <p:sldId id="427" r:id="rId40"/>
    <p:sldId id="2147479148" r:id="rId41"/>
    <p:sldId id="2147479149" r:id="rId42"/>
    <p:sldId id="2147479150" r:id="rId43"/>
    <p:sldId id="2147479152" r:id="rId44"/>
    <p:sldId id="429" r:id="rId45"/>
    <p:sldId id="2147479151" r:id="rId46"/>
    <p:sldId id="2147479154" r:id="rId47"/>
    <p:sldId id="2147479153" r:id="rId48"/>
    <p:sldId id="2147479155" r:id="rId49"/>
    <p:sldId id="2147479156" r:id="rId50"/>
    <p:sldId id="2147479157" r:id="rId51"/>
    <p:sldId id="2147479166" r:id="rId52"/>
    <p:sldId id="430" r:id="rId53"/>
    <p:sldId id="2147479159" r:id="rId54"/>
    <p:sldId id="2147479160" r:id="rId55"/>
    <p:sldId id="2147479161" r:id="rId56"/>
    <p:sldId id="2147479162" r:id="rId57"/>
    <p:sldId id="431" r:id="rId58"/>
    <p:sldId id="424" r:id="rId59"/>
    <p:sldId id="2147479167" r:id="rId60"/>
    <p:sldId id="2147479170" r:id="rId61"/>
    <p:sldId id="2147479172" r:id="rId62"/>
    <p:sldId id="2147479173" r:id="rId63"/>
    <p:sldId id="403" r:id="rId64"/>
    <p:sldId id="2147479168" r:id="rId65"/>
    <p:sldId id="2147479163" r:id="rId66"/>
    <p:sldId id="2147479169" r:id="rId67"/>
    <p:sldId id="407" r:id="rId68"/>
    <p:sldId id="394" r:id="rId69"/>
  </p:sldIdLst>
  <p:sldSz cx="12192000" cy="6858000"/>
  <p:notesSz cx="6858000" cy="9144000"/>
  <p:defaultTextStyle>
    <a:defPPr>
      <a:defRPr lang="en-US"/>
    </a:defPPr>
    <a:lvl1pPr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7E00"/>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097454-1B86-439A-85D8-FCD1C96137AC}" v="99" dt="2023-11-24T10:33:56.1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78978" autoAdjust="0"/>
  </p:normalViewPr>
  <p:slideViewPr>
    <p:cSldViewPr snapToGrid="0">
      <p:cViewPr varScale="1">
        <p:scale>
          <a:sx n="85" d="100"/>
          <a:sy n="85" d="100"/>
        </p:scale>
        <p:origin x="816" y="10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en Verbeeck" userId="24d0e79a7fd977da" providerId="LiveId" clId="{BA5CD2F8-66DA-43DE-8187-1C492E55A66A}"/>
    <pc:docChg chg="undo custSel addSld delSld modSld sldOrd">
      <pc:chgData name="Koen Verbeeck" userId="24d0e79a7fd977da" providerId="LiveId" clId="{BA5CD2F8-66DA-43DE-8187-1C492E55A66A}" dt="2023-10-24T13:30:20.242" v="2466"/>
      <pc:docMkLst>
        <pc:docMk/>
      </pc:docMkLst>
      <pc:sldChg chg="addSp delSp modSp mod">
        <pc:chgData name="Koen Verbeeck" userId="24d0e79a7fd977da" providerId="LiveId" clId="{BA5CD2F8-66DA-43DE-8187-1C492E55A66A}" dt="2023-10-13T18:21:38.948" v="107" actId="1038"/>
        <pc:sldMkLst>
          <pc:docMk/>
          <pc:sldMk cId="4165279226" sldId="265"/>
        </pc:sldMkLst>
        <pc:spChg chg="mod">
          <ac:chgData name="Koen Verbeeck" userId="24d0e79a7fd977da" providerId="LiveId" clId="{BA5CD2F8-66DA-43DE-8187-1C492E55A66A}" dt="2023-10-13T18:16:45.005" v="52" actId="207"/>
          <ac:spMkLst>
            <pc:docMk/>
            <pc:sldMk cId="4165279226" sldId="265"/>
            <ac:spMk id="2" creationId="{6C335CD5-3FD7-F97A-67F8-48E48E5D262D}"/>
          </ac:spMkLst>
        </pc:spChg>
        <pc:spChg chg="add mod">
          <ac:chgData name="Koen Verbeeck" userId="24d0e79a7fd977da" providerId="LiveId" clId="{BA5CD2F8-66DA-43DE-8187-1C492E55A66A}" dt="2023-10-13T18:16:12.056" v="48" actId="1076"/>
          <ac:spMkLst>
            <pc:docMk/>
            <pc:sldMk cId="4165279226" sldId="265"/>
            <ac:spMk id="6" creationId="{D5894BAA-8AB2-65D9-1B7A-7DB41CB0FDDB}"/>
          </ac:spMkLst>
        </pc:spChg>
        <pc:spChg chg="mod">
          <ac:chgData name="Koen Verbeeck" userId="24d0e79a7fd977da" providerId="LiveId" clId="{BA5CD2F8-66DA-43DE-8187-1C492E55A66A}" dt="2023-10-13T18:17:32.005" v="55" actId="1076"/>
          <ac:spMkLst>
            <pc:docMk/>
            <pc:sldMk cId="4165279226" sldId="265"/>
            <ac:spMk id="24" creationId="{BFF25780-A8C4-4535-819C-7DA44AC5906F}"/>
          </ac:spMkLst>
        </pc:spChg>
        <pc:spChg chg="mod">
          <ac:chgData name="Koen Verbeeck" userId="24d0e79a7fd977da" providerId="LiveId" clId="{BA5CD2F8-66DA-43DE-8187-1C492E55A66A}" dt="2023-10-13T18:21:21.998" v="74" actId="207"/>
          <ac:spMkLst>
            <pc:docMk/>
            <pc:sldMk cId="4165279226" sldId="265"/>
            <ac:spMk id="30" creationId="{D1C574BF-8FBF-4BF2-976A-76C4D9FB4ED1}"/>
          </ac:spMkLst>
        </pc:spChg>
        <pc:picChg chg="del">
          <ac:chgData name="Koen Verbeeck" userId="24d0e79a7fd977da" providerId="LiveId" clId="{BA5CD2F8-66DA-43DE-8187-1C492E55A66A}" dt="2023-10-13T18:16:06.100" v="46" actId="478"/>
          <ac:picMkLst>
            <pc:docMk/>
            <pc:sldMk cId="4165279226" sldId="265"/>
            <ac:picMk id="5" creationId="{C517FCBF-BD3E-25F5-3436-70330B070293}"/>
          </ac:picMkLst>
        </pc:picChg>
        <pc:picChg chg="mod">
          <ac:chgData name="Koen Verbeeck" userId="24d0e79a7fd977da" providerId="LiveId" clId="{BA5CD2F8-66DA-43DE-8187-1C492E55A66A}" dt="2023-10-13T18:21:38.948" v="107" actId="1038"/>
          <ac:picMkLst>
            <pc:docMk/>
            <pc:sldMk cId="4165279226" sldId="265"/>
            <ac:picMk id="17" creationId="{5D161C8D-663B-4479-82E4-47BE03A5F6F6}"/>
          </ac:picMkLst>
        </pc:picChg>
        <pc:picChg chg="mod">
          <ac:chgData name="Koen Verbeeck" userId="24d0e79a7fd977da" providerId="LiveId" clId="{BA5CD2F8-66DA-43DE-8187-1C492E55A66A}" dt="2023-10-13T18:21:35.259" v="93" actId="1038"/>
          <ac:picMkLst>
            <pc:docMk/>
            <pc:sldMk cId="4165279226" sldId="265"/>
            <ac:picMk id="18" creationId="{6567CC35-AC26-4F78-A0DA-AF4C0D772EB3}"/>
          </ac:picMkLst>
        </pc:picChg>
        <pc:picChg chg="add mod">
          <ac:chgData name="Koen Verbeeck" userId="24d0e79a7fd977da" providerId="LiveId" clId="{BA5CD2F8-66DA-43DE-8187-1C492E55A66A}" dt="2023-10-13T18:21:15.053" v="73" actId="1076"/>
          <ac:picMkLst>
            <pc:docMk/>
            <pc:sldMk cId="4165279226" sldId="265"/>
            <ac:picMk id="2050" creationId="{411EED54-1C44-878F-FBD1-708A4353B6D6}"/>
          </ac:picMkLst>
        </pc:picChg>
      </pc:sldChg>
      <pc:sldChg chg="add del">
        <pc:chgData name="Koen Verbeeck" userId="24d0e79a7fd977da" providerId="LiveId" clId="{BA5CD2F8-66DA-43DE-8187-1C492E55A66A}" dt="2023-10-13T18:08:29.585" v="32" actId="47"/>
        <pc:sldMkLst>
          <pc:docMk/>
          <pc:sldMk cId="3649543503" sldId="382"/>
        </pc:sldMkLst>
      </pc:sldChg>
      <pc:sldChg chg="add del">
        <pc:chgData name="Koen Verbeeck" userId="24d0e79a7fd977da" providerId="LiveId" clId="{BA5CD2F8-66DA-43DE-8187-1C492E55A66A}" dt="2023-10-13T18:08:29.585" v="32" actId="47"/>
        <pc:sldMkLst>
          <pc:docMk/>
          <pc:sldMk cId="4137338595" sldId="383"/>
        </pc:sldMkLst>
      </pc:sldChg>
      <pc:sldChg chg="addSp delSp modSp add del mod">
        <pc:chgData name="Koen Verbeeck" userId="24d0e79a7fd977da" providerId="LiveId" clId="{BA5CD2F8-66DA-43DE-8187-1C492E55A66A}" dt="2023-10-13T18:48:41.933" v="434" actId="478"/>
        <pc:sldMkLst>
          <pc:docMk/>
          <pc:sldMk cId="3964894102" sldId="384"/>
        </pc:sldMkLst>
        <pc:spChg chg="add del mod">
          <ac:chgData name="Koen Verbeeck" userId="24d0e79a7fd977da" providerId="LiveId" clId="{BA5CD2F8-66DA-43DE-8187-1C492E55A66A}" dt="2023-10-13T18:48:41.933" v="434" actId="478"/>
          <ac:spMkLst>
            <pc:docMk/>
            <pc:sldMk cId="3964894102" sldId="384"/>
            <ac:spMk id="3" creationId="{33DEEFFE-8D6E-4E11-3C3C-7B7CA394B4E1}"/>
          </ac:spMkLst>
        </pc:spChg>
        <pc:spChg chg="del">
          <ac:chgData name="Koen Verbeeck" userId="24d0e79a7fd977da" providerId="LiveId" clId="{BA5CD2F8-66DA-43DE-8187-1C492E55A66A}" dt="2023-10-13T18:48:39.875" v="433" actId="478"/>
          <ac:spMkLst>
            <pc:docMk/>
            <pc:sldMk cId="3964894102" sldId="384"/>
            <ac:spMk id="12" creationId="{4118D94C-15E2-B492-548E-21D591FF2AA8}"/>
          </ac:spMkLst>
        </pc:spChg>
        <pc:spChg chg="mod">
          <ac:chgData name="Koen Verbeeck" userId="24d0e79a7fd977da" providerId="LiveId" clId="{BA5CD2F8-66DA-43DE-8187-1C492E55A66A}" dt="2023-10-13T18:25:31.435" v="140" actId="20577"/>
          <ac:spMkLst>
            <pc:docMk/>
            <pc:sldMk cId="3964894102" sldId="384"/>
            <ac:spMk id="13" creationId="{0A925C7F-DC41-244E-985A-B5DACDDC487B}"/>
          </ac:spMkLst>
        </pc:spChg>
      </pc:sldChg>
      <pc:sldChg chg="add del">
        <pc:chgData name="Koen Verbeeck" userId="24d0e79a7fd977da" providerId="LiveId" clId="{BA5CD2F8-66DA-43DE-8187-1C492E55A66A}" dt="2023-10-13T18:08:29.585" v="32" actId="47"/>
        <pc:sldMkLst>
          <pc:docMk/>
          <pc:sldMk cId="3909643325" sldId="385"/>
        </pc:sldMkLst>
      </pc:sldChg>
      <pc:sldChg chg="addSp delSp modSp mod">
        <pc:chgData name="Koen Verbeeck" userId="24d0e79a7fd977da" providerId="LiveId" clId="{BA5CD2F8-66DA-43DE-8187-1C492E55A66A}" dt="2023-10-13T18:15:39.062" v="45" actId="1076"/>
        <pc:sldMkLst>
          <pc:docMk/>
          <pc:sldMk cId="3677851476" sldId="393"/>
        </pc:sldMkLst>
        <pc:spChg chg="add del">
          <ac:chgData name="Koen Verbeeck" userId="24d0e79a7fd977da" providerId="LiveId" clId="{BA5CD2F8-66DA-43DE-8187-1C492E55A66A}" dt="2023-10-13T18:09:17.947" v="34"/>
          <ac:spMkLst>
            <pc:docMk/>
            <pc:sldMk cId="3677851476" sldId="393"/>
            <ac:spMk id="2" creationId="{F0C58492-5E8D-5B74-CCE8-628C5A28297E}"/>
          </ac:spMkLst>
        </pc:spChg>
        <pc:spChg chg="mod">
          <ac:chgData name="Koen Verbeeck" userId="24d0e79a7fd977da" providerId="LiveId" clId="{BA5CD2F8-66DA-43DE-8187-1C492E55A66A}" dt="2023-10-13T18:08:10.208" v="29" actId="20577"/>
          <ac:spMkLst>
            <pc:docMk/>
            <pc:sldMk cId="3677851476" sldId="393"/>
            <ac:spMk id="7" creationId="{AD84C2D4-A9B0-9462-48D9-81618A5E29D8}"/>
          </ac:spMkLst>
        </pc:spChg>
        <pc:picChg chg="del">
          <ac:chgData name="Koen Verbeeck" userId="24d0e79a7fd977da" providerId="LiveId" clId="{BA5CD2F8-66DA-43DE-8187-1C492E55A66A}" dt="2023-10-13T18:08:02.403" v="0" actId="478"/>
          <ac:picMkLst>
            <pc:docMk/>
            <pc:sldMk cId="3677851476" sldId="393"/>
            <ac:picMk id="3" creationId="{856414B6-4187-4016-B0DB-FD7C892579B0}"/>
          </ac:picMkLst>
        </pc:picChg>
        <pc:picChg chg="add del mod">
          <ac:chgData name="Koen Verbeeck" userId="24d0e79a7fd977da" providerId="LiveId" clId="{BA5CD2F8-66DA-43DE-8187-1C492E55A66A}" dt="2023-10-13T18:14:59.843" v="41" actId="478"/>
          <ac:picMkLst>
            <pc:docMk/>
            <pc:sldMk cId="3677851476" sldId="393"/>
            <ac:picMk id="4" creationId="{F701F476-FC8A-2205-1C1A-E51E46E8DBB5}"/>
          </ac:picMkLst>
        </pc:picChg>
        <pc:picChg chg="add mod">
          <ac:chgData name="Koen Verbeeck" userId="24d0e79a7fd977da" providerId="LiveId" clId="{BA5CD2F8-66DA-43DE-8187-1C492E55A66A}" dt="2023-10-13T18:15:39.062" v="45" actId="1076"/>
          <ac:picMkLst>
            <pc:docMk/>
            <pc:sldMk cId="3677851476" sldId="393"/>
            <ac:picMk id="6" creationId="{63002B25-EE80-03D1-3586-EBE5A5E66014}"/>
          </ac:picMkLst>
        </pc:picChg>
        <pc:picChg chg="add del mod">
          <ac:chgData name="Koen Verbeeck" userId="24d0e79a7fd977da" providerId="LiveId" clId="{BA5CD2F8-66DA-43DE-8187-1C492E55A66A}" dt="2023-10-13T18:14:59.143" v="40" actId="478"/>
          <ac:picMkLst>
            <pc:docMk/>
            <pc:sldMk cId="3677851476" sldId="393"/>
            <ac:picMk id="1028" creationId="{9CDAB30E-3BDB-93D0-58B6-E280E942C94E}"/>
          </ac:picMkLst>
        </pc:picChg>
      </pc:sldChg>
      <pc:sldChg chg="add del">
        <pc:chgData name="Koen Verbeeck" userId="24d0e79a7fd977da" providerId="LiveId" clId="{BA5CD2F8-66DA-43DE-8187-1C492E55A66A}" dt="2023-10-13T18:08:29.585" v="32" actId="47"/>
        <pc:sldMkLst>
          <pc:docMk/>
          <pc:sldMk cId="3199220616" sldId="404"/>
        </pc:sldMkLst>
      </pc:sldChg>
      <pc:sldChg chg="add del">
        <pc:chgData name="Koen Verbeeck" userId="24d0e79a7fd977da" providerId="LiveId" clId="{BA5CD2F8-66DA-43DE-8187-1C492E55A66A}" dt="2023-10-13T18:08:29.585" v="32" actId="47"/>
        <pc:sldMkLst>
          <pc:docMk/>
          <pc:sldMk cId="3644694167" sldId="405"/>
        </pc:sldMkLst>
      </pc:sldChg>
      <pc:sldChg chg="add del">
        <pc:chgData name="Koen Verbeeck" userId="24d0e79a7fd977da" providerId="LiveId" clId="{BA5CD2F8-66DA-43DE-8187-1C492E55A66A}" dt="2023-10-13T18:08:29.585" v="32" actId="47"/>
        <pc:sldMkLst>
          <pc:docMk/>
          <pc:sldMk cId="3521530753" sldId="406"/>
        </pc:sldMkLst>
      </pc:sldChg>
      <pc:sldChg chg="modSp mod">
        <pc:chgData name="Koen Verbeeck" userId="24d0e79a7fd977da" providerId="LiveId" clId="{BA5CD2F8-66DA-43DE-8187-1C492E55A66A}" dt="2023-10-19T16:33:55.649" v="1752" actId="20577"/>
        <pc:sldMkLst>
          <pc:docMk/>
          <pc:sldMk cId="726080506" sldId="407"/>
        </pc:sldMkLst>
        <pc:spChg chg="mod">
          <ac:chgData name="Koen Verbeeck" userId="24d0e79a7fd977da" providerId="LiveId" clId="{BA5CD2F8-66DA-43DE-8187-1C492E55A66A}" dt="2023-10-19T16:27:35.982" v="1521" actId="20577"/>
          <ac:spMkLst>
            <pc:docMk/>
            <pc:sldMk cId="726080506" sldId="407"/>
            <ac:spMk id="3" creationId="{19D5DC25-4BBE-0376-0A54-3ED41D1D1ECF}"/>
          </ac:spMkLst>
        </pc:spChg>
        <pc:spChg chg="mod">
          <ac:chgData name="Koen Verbeeck" userId="24d0e79a7fd977da" providerId="LiveId" clId="{BA5CD2F8-66DA-43DE-8187-1C492E55A66A}" dt="2023-10-19T16:33:55.649" v="1752" actId="20577"/>
          <ac:spMkLst>
            <pc:docMk/>
            <pc:sldMk cId="726080506" sldId="407"/>
            <ac:spMk id="4" creationId="{F0B5AEEA-3911-E5CE-F922-71918C732320}"/>
          </ac:spMkLst>
        </pc:spChg>
      </pc:sldChg>
      <pc:sldChg chg="add del">
        <pc:chgData name="Koen Verbeeck" userId="24d0e79a7fd977da" providerId="LiveId" clId="{BA5CD2F8-66DA-43DE-8187-1C492E55A66A}" dt="2023-10-13T18:08:29.585" v="32" actId="47"/>
        <pc:sldMkLst>
          <pc:docMk/>
          <pc:sldMk cId="2218592829" sldId="408"/>
        </pc:sldMkLst>
      </pc:sldChg>
      <pc:sldChg chg="add del">
        <pc:chgData name="Koen Verbeeck" userId="24d0e79a7fd977da" providerId="LiveId" clId="{BA5CD2F8-66DA-43DE-8187-1C492E55A66A}" dt="2023-10-13T18:08:29.585" v="32" actId="47"/>
        <pc:sldMkLst>
          <pc:docMk/>
          <pc:sldMk cId="37014169" sldId="409"/>
        </pc:sldMkLst>
      </pc:sldChg>
      <pc:sldChg chg="del">
        <pc:chgData name="Koen Verbeeck" userId="24d0e79a7fd977da" providerId="LiveId" clId="{BA5CD2F8-66DA-43DE-8187-1C492E55A66A}" dt="2023-10-13T19:02:27.884" v="542" actId="47"/>
        <pc:sldMkLst>
          <pc:docMk/>
          <pc:sldMk cId="1306296076" sldId="410"/>
        </pc:sldMkLst>
      </pc:sldChg>
      <pc:sldChg chg="addSp delSp modSp new mod modClrScheme chgLayout">
        <pc:chgData name="Koen Verbeeck" userId="24d0e79a7fd977da" providerId="LiveId" clId="{BA5CD2F8-66DA-43DE-8187-1C492E55A66A}" dt="2023-10-13T18:29:26.549" v="282" actId="113"/>
        <pc:sldMkLst>
          <pc:docMk/>
          <pc:sldMk cId="2746377707" sldId="411"/>
        </pc:sldMkLst>
        <pc:spChg chg="del">
          <ac:chgData name="Koen Verbeeck" userId="24d0e79a7fd977da" providerId="LiveId" clId="{BA5CD2F8-66DA-43DE-8187-1C492E55A66A}" dt="2023-10-13T18:26:08.368" v="143" actId="700"/>
          <ac:spMkLst>
            <pc:docMk/>
            <pc:sldMk cId="2746377707" sldId="411"/>
            <ac:spMk id="2" creationId="{5AA6EC15-8BCA-2DF5-3EAC-DA9BEF2453C6}"/>
          </ac:spMkLst>
        </pc:spChg>
        <pc:spChg chg="del mod ord">
          <ac:chgData name="Koen Verbeeck" userId="24d0e79a7fd977da" providerId="LiveId" clId="{BA5CD2F8-66DA-43DE-8187-1C492E55A66A}" dt="2023-10-13T18:26:08.368" v="143" actId="700"/>
          <ac:spMkLst>
            <pc:docMk/>
            <pc:sldMk cId="2746377707" sldId="411"/>
            <ac:spMk id="3" creationId="{D742348E-6793-CBBF-8D36-BBE798739DD2}"/>
          </ac:spMkLst>
        </pc:spChg>
        <pc:spChg chg="add mod ord">
          <ac:chgData name="Koen Verbeeck" userId="24d0e79a7fd977da" providerId="LiveId" clId="{BA5CD2F8-66DA-43DE-8187-1C492E55A66A}" dt="2023-10-13T18:28:45.406" v="242" actId="120"/>
          <ac:spMkLst>
            <pc:docMk/>
            <pc:sldMk cId="2746377707" sldId="411"/>
            <ac:spMk id="4" creationId="{2046B91C-F846-F395-5F9C-9FA1A5B7E84B}"/>
          </ac:spMkLst>
        </pc:spChg>
        <pc:spChg chg="add mod">
          <ac:chgData name="Koen Verbeeck" userId="24d0e79a7fd977da" providerId="LiveId" clId="{BA5CD2F8-66DA-43DE-8187-1C492E55A66A}" dt="2023-10-13T18:29:26.549" v="282" actId="113"/>
          <ac:spMkLst>
            <pc:docMk/>
            <pc:sldMk cId="2746377707" sldId="411"/>
            <ac:spMk id="5" creationId="{86E6BFE8-EAD9-4A57-9BC0-30ADA2ABAD02}"/>
          </ac:spMkLst>
        </pc:spChg>
      </pc:sldChg>
      <pc:sldChg chg="new del">
        <pc:chgData name="Koen Verbeeck" userId="24d0e79a7fd977da" providerId="LiveId" clId="{BA5CD2F8-66DA-43DE-8187-1C492E55A66A}" dt="2023-10-13T18:25:44.376" v="141" actId="47"/>
        <pc:sldMkLst>
          <pc:docMk/>
          <pc:sldMk cId="2931724675" sldId="411"/>
        </pc:sldMkLst>
      </pc:sldChg>
      <pc:sldChg chg="addSp delSp modSp new mod modClrScheme chgLayout">
        <pc:chgData name="Koen Verbeeck" userId="24d0e79a7fd977da" providerId="LiveId" clId="{BA5CD2F8-66DA-43DE-8187-1C492E55A66A}" dt="2023-10-13T18:31:52.675" v="311" actId="1076"/>
        <pc:sldMkLst>
          <pc:docMk/>
          <pc:sldMk cId="2890134233" sldId="412"/>
        </pc:sldMkLst>
        <pc:spChg chg="del mod ord">
          <ac:chgData name="Koen Verbeeck" userId="24d0e79a7fd977da" providerId="LiveId" clId="{BA5CD2F8-66DA-43DE-8187-1C492E55A66A}" dt="2023-10-13T18:29:49.884" v="284" actId="700"/>
          <ac:spMkLst>
            <pc:docMk/>
            <pc:sldMk cId="2890134233" sldId="412"/>
            <ac:spMk id="2" creationId="{25E48D9B-3E8C-FF7E-E42D-AA1ED027AAAB}"/>
          </ac:spMkLst>
        </pc:spChg>
        <pc:spChg chg="add mod ord">
          <ac:chgData name="Koen Verbeeck" userId="24d0e79a7fd977da" providerId="LiveId" clId="{BA5CD2F8-66DA-43DE-8187-1C492E55A66A}" dt="2023-10-13T18:29:55.972" v="309" actId="20577"/>
          <ac:spMkLst>
            <pc:docMk/>
            <pc:sldMk cId="2890134233" sldId="412"/>
            <ac:spMk id="3" creationId="{43D3CBEF-945F-F6E9-1246-675194A874C3}"/>
          </ac:spMkLst>
        </pc:spChg>
        <pc:picChg chg="add mod">
          <ac:chgData name="Koen Verbeeck" userId="24d0e79a7fd977da" providerId="LiveId" clId="{BA5CD2F8-66DA-43DE-8187-1C492E55A66A}" dt="2023-10-13T18:31:52.675" v="311" actId="1076"/>
          <ac:picMkLst>
            <pc:docMk/>
            <pc:sldMk cId="2890134233" sldId="412"/>
            <ac:picMk id="3074" creationId="{42067BB5-B6E9-60E4-A7FF-6C77487C2415}"/>
          </ac:picMkLst>
        </pc:picChg>
      </pc:sldChg>
      <pc:sldChg chg="addSp delSp modSp new mod modAnim">
        <pc:chgData name="Koen Verbeeck" userId="24d0e79a7fd977da" providerId="LiveId" clId="{BA5CD2F8-66DA-43DE-8187-1C492E55A66A}" dt="2023-10-13T18:35:30.733" v="323" actId="113"/>
        <pc:sldMkLst>
          <pc:docMk/>
          <pc:sldMk cId="1414474084" sldId="413"/>
        </pc:sldMkLst>
        <pc:spChg chg="del">
          <ac:chgData name="Koen Verbeeck" userId="24d0e79a7fd977da" providerId="LiveId" clId="{BA5CD2F8-66DA-43DE-8187-1C492E55A66A}" dt="2023-10-13T18:34:25.089" v="313" actId="478"/>
          <ac:spMkLst>
            <pc:docMk/>
            <pc:sldMk cId="1414474084" sldId="413"/>
            <ac:spMk id="2" creationId="{B5598F23-1E2F-1034-99E5-06AD94F4EB6B}"/>
          </ac:spMkLst>
        </pc:spChg>
        <pc:spChg chg="add mod">
          <ac:chgData name="Koen Verbeeck" userId="24d0e79a7fd977da" providerId="LiveId" clId="{BA5CD2F8-66DA-43DE-8187-1C492E55A66A}" dt="2023-10-13T18:34:26.980" v="314"/>
          <ac:spMkLst>
            <pc:docMk/>
            <pc:sldMk cId="1414474084" sldId="413"/>
            <ac:spMk id="10" creationId="{065F876A-0E05-8047-0075-0D592C2C549A}"/>
          </ac:spMkLst>
        </pc:spChg>
        <pc:spChg chg="add mod">
          <ac:chgData name="Koen Verbeeck" userId="24d0e79a7fd977da" providerId="LiveId" clId="{BA5CD2F8-66DA-43DE-8187-1C492E55A66A}" dt="2023-10-13T18:34:26.980" v="314"/>
          <ac:spMkLst>
            <pc:docMk/>
            <pc:sldMk cId="1414474084" sldId="413"/>
            <ac:spMk id="11" creationId="{F4F2A70A-DB83-39A7-90F3-2D960993AB53}"/>
          </ac:spMkLst>
        </pc:spChg>
        <pc:spChg chg="add mod">
          <ac:chgData name="Koen Verbeeck" userId="24d0e79a7fd977da" providerId="LiveId" clId="{BA5CD2F8-66DA-43DE-8187-1C492E55A66A}" dt="2023-10-13T18:34:26.980" v="314"/>
          <ac:spMkLst>
            <pc:docMk/>
            <pc:sldMk cId="1414474084" sldId="413"/>
            <ac:spMk id="12" creationId="{561580C7-FB6D-3E71-3045-09CCB1DAFC68}"/>
          </ac:spMkLst>
        </pc:spChg>
        <pc:spChg chg="add mod">
          <ac:chgData name="Koen Verbeeck" userId="24d0e79a7fd977da" providerId="LiveId" clId="{BA5CD2F8-66DA-43DE-8187-1C492E55A66A}" dt="2023-10-13T18:34:26.980" v="314"/>
          <ac:spMkLst>
            <pc:docMk/>
            <pc:sldMk cId="1414474084" sldId="413"/>
            <ac:spMk id="13" creationId="{83EA7254-2AD6-BFFA-6327-2ED75B6DA101}"/>
          </ac:spMkLst>
        </pc:spChg>
        <pc:spChg chg="add mod">
          <ac:chgData name="Koen Verbeeck" userId="24d0e79a7fd977da" providerId="LiveId" clId="{BA5CD2F8-66DA-43DE-8187-1C492E55A66A}" dt="2023-10-13T18:34:26.980" v="314"/>
          <ac:spMkLst>
            <pc:docMk/>
            <pc:sldMk cId="1414474084" sldId="413"/>
            <ac:spMk id="14" creationId="{A6782309-1358-AED6-7884-DEA9AF5F71B3}"/>
          </ac:spMkLst>
        </pc:spChg>
        <pc:spChg chg="add mod">
          <ac:chgData name="Koen Verbeeck" userId="24d0e79a7fd977da" providerId="LiveId" clId="{BA5CD2F8-66DA-43DE-8187-1C492E55A66A}" dt="2023-10-13T18:34:26.980" v="314"/>
          <ac:spMkLst>
            <pc:docMk/>
            <pc:sldMk cId="1414474084" sldId="413"/>
            <ac:spMk id="15" creationId="{53EB4D92-E642-C463-02DC-E53E7ACAF8C3}"/>
          </ac:spMkLst>
        </pc:spChg>
        <pc:spChg chg="add mod">
          <ac:chgData name="Koen Verbeeck" userId="24d0e79a7fd977da" providerId="LiveId" clId="{BA5CD2F8-66DA-43DE-8187-1C492E55A66A}" dt="2023-10-13T18:34:26.980" v="314"/>
          <ac:spMkLst>
            <pc:docMk/>
            <pc:sldMk cId="1414474084" sldId="413"/>
            <ac:spMk id="16" creationId="{924D7AA5-FB6F-7778-B44A-F73AF167D54F}"/>
          </ac:spMkLst>
        </pc:spChg>
        <pc:spChg chg="add mod">
          <ac:chgData name="Koen Verbeeck" userId="24d0e79a7fd977da" providerId="LiveId" clId="{BA5CD2F8-66DA-43DE-8187-1C492E55A66A}" dt="2023-10-13T18:34:26.980" v="314"/>
          <ac:spMkLst>
            <pc:docMk/>
            <pc:sldMk cId="1414474084" sldId="413"/>
            <ac:spMk id="17" creationId="{C47C97E1-5CB7-5C4E-7A0D-3ACEF432B466}"/>
          </ac:spMkLst>
        </pc:spChg>
        <pc:spChg chg="add mod">
          <ac:chgData name="Koen Verbeeck" userId="24d0e79a7fd977da" providerId="LiveId" clId="{BA5CD2F8-66DA-43DE-8187-1C492E55A66A}" dt="2023-10-13T18:34:26.980" v="314"/>
          <ac:spMkLst>
            <pc:docMk/>
            <pc:sldMk cId="1414474084" sldId="413"/>
            <ac:spMk id="19" creationId="{C27135B0-8E74-C1C1-68C9-788FD688C7ED}"/>
          </ac:spMkLst>
        </pc:spChg>
        <pc:spChg chg="add mod">
          <ac:chgData name="Koen Verbeeck" userId="24d0e79a7fd977da" providerId="LiveId" clId="{BA5CD2F8-66DA-43DE-8187-1C492E55A66A}" dt="2023-10-13T18:34:26.980" v="314"/>
          <ac:spMkLst>
            <pc:docMk/>
            <pc:sldMk cId="1414474084" sldId="413"/>
            <ac:spMk id="20" creationId="{53CD878A-F640-80E3-0529-4FE110F39B68}"/>
          </ac:spMkLst>
        </pc:spChg>
        <pc:spChg chg="add mod">
          <ac:chgData name="Koen Verbeeck" userId="24d0e79a7fd977da" providerId="LiveId" clId="{BA5CD2F8-66DA-43DE-8187-1C492E55A66A}" dt="2023-10-13T18:34:26.980" v="314"/>
          <ac:spMkLst>
            <pc:docMk/>
            <pc:sldMk cId="1414474084" sldId="413"/>
            <ac:spMk id="21" creationId="{B5265A9E-2475-2077-12F2-CC0B758572EB}"/>
          </ac:spMkLst>
        </pc:spChg>
        <pc:spChg chg="add mod">
          <ac:chgData name="Koen Verbeeck" userId="24d0e79a7fd977da" providerId="LiveId" clId="{BA5CD2F8-66DA-43DE-8187-1C492E55A66A}" dt="2023-10-13T18:35:30.733" v="323" actId="113"/>
          <ac:spMkLst>
            <pc:docMk/>
            <pc:sldMk cId="1414474084" sldId="413"/>
            <ac:spMk id="22" creationId="{2C1D00C5-1027-BDCB-B8CE-804B7CCD2DB6}"/>
          </ac:spMkLst>
        </pc:spChg>
        <pc:picChg chg="add mod">
          <ac:chgData name="Koen Verbeeck" userId="24d0e79a7fd977da" providerId="LiveId" clId="{BA5CD2F8-66DA-43DE-8187-1C492E55A66A}" dt="2023-10-13T18:34:26.980" v="314"/>
          <ac:picMkLst>
            <pc:docMk/>
            <pc:sldMk cId="1414474084" sldId="413"/>
            <ac:picMk id="3" creationId="{252DBAE4-0DED-7E2D-251E-3A12D293D13F}"/>
          </ac:picMkLst>
        </pc:picChg>
        <pc:picChg chg="add mod">
          <ac:chgData name="Koen Verbeeck" userId="24d0e79a7fd977da" providerId="LiveId" clId="{BA5CD2F8-66DA-43DE-8187-1C492E55A66A}" dt="2023-10-13T18:34:26.980" v="314"/>
          <ac:picMkLst>
            <pc:docMk/>
            <pc:sldMk cId="1414474084" sldId="413"/>
            <ac:picMk id="4" creationId="{A0F63E70-B2F7-A11A-AD30-6CE29AA9CC5A}"/>
          </ac:picMkLst>
        </pc:picChg>
        <pc:picChg chg="add mod">
          <ac:chgData name="Koen Verbeeck" userId="24d0e79a7fd977da" providerId="LiveId" clId="{BA5CD2F8-66DA-43DE-8187-1C492E55A66A}" dt="2023-10-13T18:34:26.980" v="314"/>
          <ac:picMkLst>
            <pc:docMk/>
            <pc:sldMk cId="1414474084" sldId="413"/>
            <ac:picMk id="5" creationId="{8A3556D8-0BE2-9C37-F72A-6D5B29D8F45D}"/>
          </ac:picMkLst>
        </pc:picChg>
        <pc:picChg chg="add mod">
          <ac:chgData name="Koen Verbeeck" userId="24d0e79a7fd977da" providerId="LiveId" clId="{BA5CD2F8-66DA-43DE-8187-1C492E55A66A}" dt="2023-10-13T18:34:26.980" v="314"/>
          <ac:picMkLst>
            <pc:docMk/>
            <pc:sldMk cId="1414474084" sldId="413"/>
            <ac:picMk id="6" creationId="{3D928940-997C-5145-BACB-5BB86C818D1A}"/>
          </ac:picMkLst>
        </pc:picChg>
        <pc:picChg chg="add mod">
          <ac:chgData name="Koen Verbeeck" userId="24d0e79a7fd977da" providerId="LiveId" clId="{BA5CD2F8-66DA-43DE-8187-1C492E55A66A}" dt="2023-10-13T18:34:26.980" v="314"/>
          <ac:picMkLst>
            <pc:docMk/>
            <pc:sldMk cId="1414474084" sldId="413"/>
            <ac:picMk id="7" creationId="{0C7E64AC-C445-6FA4-684F-BFF7AF17DB81}"/>
          </ac:picMkLst>
        </pc:picChg>
        <pc:picChg chg="add mod">
          <ac:chgData name="Koen Verbeeck" userId="24d0e79a7fd977da" providerId="LiveId" clId="{BA5CD2F8-66DA-43DE-8187-1C492E55A66A}" dt="2023-10-13T18:34:26.980" v="314"/>
          <ac:picMkLst>
            <pc:docMk/>
            <pc:sldMk cId="1414474084" sldId="413"/>
            <ac:picMk id="8" creationId="{3CB5F1CE-0629-8AB3-E6AE-30C887CD7E03}"/>
          </ac:picMkLst>
        </pc:picChg>
        <pc:picChg chg="add mod">
          <ac:chgData name="Koen Verbeeck" userId="24d0e79a7fd977da" providerId="LiveId" clId="{BA5CD2F8-66DA-43DE-8187-1C492E55A66A}" dt="2023-10-13T18:34:26.980" v="314"/>
          <ac:picMkLst>
            <pc:docMk/>
            <pc:sldMk cId="1414474084" sldId="413"/>
            <ac:picMk id="9" creationId="{35E28F20-7DD6-249F-B300-3090CAEBF357}"/>
          </ac:picMkLst>
        </pc:picChg>
        <pc:picChg chg="add mod">
          <ac:chgData name="Koen Verbeeck" userId="24d0e79a7fd977da" providerId="LiveId" clId="{BA5CD2F8-66DA-43DE-8187-1C492E55A66A}" dt="2023-10-13T18:34:26.980" v="314"/>
          <ac:picMkLst>
            <pc:docMk/>
            <pc:sldMk cId="1414474084" sldId="413"/>
            <ac:picMk id="18" creationId="{1C722A54-7007-01B9-63AB-E88E1D17B9A2}"/>
          </ac:picMkLst>
        </pc:picChg>
      </pc:sldChg>
      <pc:sldChg chg="addSp delSp modSp new del mod modClrScheme modAnim chgLayout">
        <pc:chgData name="Koen Verbeeck" userId="24d0e79a7fd977da" providerId="LiveId" clId="{BA5CD2F8-66DA-43DE-8187-1C492E55A66A}" dt="2023-10-13T19:10:28.132" v="566" actId="47"/>
        <pc:sldMkLst>
          <pc:docMk/>
          <pc:sldMk cId="2842491048" sldId="414"/>
        </pc:sldMkLst>
        <pc:spChg chg="del mod ord">
          <ac:chgData name="Koen Verbeeck" userId="24d0e79a7fd977da" providerId="LiveId" clId="{BA5CD2F8-66DA-43DE-8187-1C492E55A66A}" dt="2023-10-13T18:35:04.028" v="316" actId="700"/>
          <ac:spMkLst>
            <pc:docMk/>
            <pc:sldMk cId="2842491048" sldId="414"/>
            <ac:spMk id="2" creationId="{7343A95B-0BF9-F4AD-185F-DFCA7FEB6E16}"/>
          </ac:spMkLst>
        </pc:spChg>
        <pc:spChg chg="add del mod ord">
          <ac:chgData name="Koen Verbeeck" userId="24d0e79a7fd977da" providerId="LiveId" clId="{BA5CD2F8-66DA-43DE-8187-1C492E55A66A}" dt="2023-10-13T18:55:43.565" v="496" actId="478"/>
          <ac:spMkLst>
            <pc:docMk/>
            <pc:sldMk cId="2842491048" sldId="414"/>
            <ac:spMk id="3" creationId="{125471FF-3DA9-F43B-7F99-0E8F179682DD}"/>
          </ac:spMkLst>
        </pc:spChg>
        <pc:spChg chg="add del mod ord">
          <ac:chgData name="Koen Verbeeck" userId="24d0e79a7fd977da" providerId="LiveId" clId="{BA5CD2F8-66DA-43DE-8187-1C492E55A66A}" dt="2023-10-13T18:55:05.333" v="482" actId="478"/>
          <ac:spMkLst>
            <pc:docMk/>
            <pc:sldMk cId="2842491048" sldId="414"/>
            <ac:spMk id="4" creationId="{CBFC4DB8-0251-525F-4F60-CDBECD03D471}"/>
          </ac:spMkLst>
        </pc:spChg>
        <pc:spChg chg="add del mod">
          <ac:chgData name="Koen Verbeeck" userId="24d0e79a7fd977da" providerId="LiveId" clId="{BA5CD2F8-66DA-43DE-8187-1C492E55A66A}" dt="2023-10-13T18:55:07.439" v="483" actId="478"/>
          <ac:spMkLst>
            <pc:docMk/>
            <pc:sldMk cId="2842491048" sldId="414"/>
            <ac:spMk id="6" creationId="{68043E59-6601-353D-FEB1-B9A03959BB32}"/>
          </ac:spMkLst>
        </pc:spChg>
        <pc:spChg chg="add del mod">
          <ac:chgData name="Koen Verbeeck" userId="24d0e79a7fd977da" providerId="LiveId" clId="{BA5CD2F8-66DA-43DE-8187-1C492E55A66A}" dt="2023-10-13T18:55:29.423" v="489"/>
          <ac:spMkLst>
            <pc:docMk/>
            <pc:sldMk cId="2842491048" sldId="414"/>
            <ac:spMk id="7" creationId="{83CFB88F-EAD7-C27A-2D33-DEDA8BAB1B21}"/>
          </ac:spMkLst>
        </pc:spChg>
        <pc:spChg chg="add del mod">
          <ac:chgData name="Koen Verbeeck" userId="24d0e79a7fd977da" providerId="LiveId" clId="{BA5CD2F8-66DA-43DE-8187-1C492E55A66A}" dt="2023-10-13T18:55:29.423" v="489"/>
          <ac:spMkLst>
            <pc:docMk/>
            <pc:sldMk cId="2842491048" sldId="414"/>
            <ac:spMk id="8" creationId="{AE0E47B5-1877-E4C8-7A4E-1859985054C5}"/>
          </ac:spMkLst>
        </pc:spChg>
        <pc:spChg chg="add del mod">
          <ac:chgData name="Koen Verbeeck" userId="24d0e79a7fd977da" providerId="LiveId" clId="{BA5CD2F8-66DA-43DE-8187-1C492E55A66A}" dt="2023-10-13T18:55:29.423" v="489"/>
          <ac:spMkLst>
            <pc:docMk/>
            <pc:sldMk cId="2842491048" sldId="414"/>
            <ac:spMk id="9" creationId="{B7CC9A43-2210-C0B4-2AFE-43B3DCCB1826}"/>
          </ac:spMkLst>
        </pc:spChg>
        <pc:spChg chg="add del mod">
          <ac:chgData name="Koen Verbeeck" userId="24d0e79a7fd977da" providerId="LiveId" clId="{BA5CD2F8-66DA-43DE-8187-1C492E55A66A}" dt="2023-10-13T18:55:29.423" v="489"/>
          <ac:spMkLst>
            <pc:docMk/>
            <pc:sldMk cId="2842491048" sldId="414"/>
            <ac:spMk id="10" creationId="{C09A3DD4-5F02-B2F3-5520-06CBF5121938}"/>
          </ac:spMkLst>
        </pc:spChg>
        <pc:spChg chg="add del mod">
          <ac:chgData name="Koen Verbeeck" userId="24d0e79a7fd977da" providerId="LiveId" clId="{BA5CD2F8-66DA-43DE-8187-1C492E55A66A}" dt="2023-10-13T18:55:35.416" v="493"/>
          <ac:spMkLst>
            <pc:docMk/>
            <pc:sldMk cId="2842491048" sldId="414"/>
            <ac:spMk id="12" creationId="{A0FB6307-8F6F-9A40-45DF-C49690F11B47}"/>
          </ac:spMkLst>
        </pc:spChg>
        <pc:spChg chg="add del mod">
          <ac:chgData name="Koen Verbeeck" userId="24d0e79a7fd977da" providerId="LiveId" clId="{BA5CD2F8-66DA-43DE-8187-1C492E55A66A}" dt="2023-10-13T18:55:35.416" v="493"/>
          <ac:spMkLst>
            <pc:docMk/>
            <pc:sldMk cId="2842491048" sldId="414"/>
            <ac:spMk id="13" creationId="{D2819779-19DC-7DD4-E4C6-B0EDDF229891}"/>
          </ac:spMkLst>
        </pc:spChg>
        <pc:spChg chg="add del mod">
          <ac:chgData name="Koen Verbeeck" userId="24d0e79a7fd977da" providerId="LiveId" clId="{BA5CD2F8-66DA-43DE-8187-1C492E55A66A}" dt="2023-10-13T18:55:35.416" v="493"/>
          <ac:spMkLst>
            <pc:docMk/>
            <pc:sldMk cId="2842491048" sldId="414"/>
            <ac:spMk id="14" creationId="{363C729E-CE94-922A-F31E-90D6BB7984AE}"/>
          </ac:spMkLst>
        </pc:spChg>
        <pc:spChg chg="add del mod">
          <ac:chgData name="Koen Verbeeck" userId="24d0e79a7fd977da" providerId="LiveId" clId="{BA5CD2F8-66DA-43DE-8187-1C492E55A66A}" dt="2023-10-13T18:55:35.416" v="493"/>
          <ac:spMkLst>
            <pc:docMk/>
            <pc:sldMk cId="2842491048" sldId="414"/>
            <ac:spMk id="15" creationId="{EC5C6DF3-06E4-85BC-AF22-E8605707AB92}"/>
          </ac:spMkLst>
        </pc:spChg>
        <pc:spChg chg="add mod">
          <ac:chgData name="Koen Verbeeck" userId="24d0e79a7fd977da" providerId="LiveId" clId="{BA5CD2F8-66DA-43DE-8187-1C492E55A66A}" dt="2023-10-13T18:59:47.966" v="499" actId="20577"/>
          <ac:spMkLst>
            <pc:docMk/>
            <pc:sldMk cId="2842491048" sldId="414"/>
            <ac:spMk id="17" creationId="{E8154F93-3747-2FCE-271F-896B3F3278E8}"/>
          </ac:spMkLst>
        </pc:spChg>
        <pc:spChg chg="add mod">
          <ac:chgData name="Koen Verbeeck" userId="24d0e79a7fd977da" providerId="LiveId" clId="{BA5CD2F8-66DA-43DE-8187-1C492E55A66A}" dt="2023-10-13T18:55:41.497" v="495" actId="1076"/>
          <ac:spMkLst>
            <pc:docMk/>
            <pc:sldMk cId="2842491048" sldId="414"/>
            <ac:spMk id="18" creationId="{05876848-F1E6-03EA-D80B-8B6BF0585261}"/>
          </ac:spMkLst>
        </pc:spChg>
        <pc:spChg chg="add mod">
          <ac:chgData name="Koen Verbeeck" userId="24d0e79a7fd977da" providerId="LiveId" clId="{BA5CD2F8-66DA-43DE-8187-1C492E55A66A}" dt="2023-10-13T18:55:41.497" v="495" actId="1076"/>
          <ac:spMkLst>
            <pc:docMk/>
            <pc:sldMk cId="2842491048" sldId="414"/>
            <ac:spMk id="19" creationId="{9E55FC4C-C9A2-51B8-1720-CB0168694222}"/>
          </ac:spMkLst>
        </pc:spChg>
        <pc:spChg chg="add mod">
          <ac:chgData name="Koen Verbeeck" userId="24d0e79a7fd977da" providerId="LiveId" clId="{BA5CD2F8-66DA-43DE-8187-1C492E55A66A}" dt="2023-10-13T18:55:41.497" v="495" actId="1076"/>
          <ac:spMkLst>
            <pc:docMk/>
            <pc:sldMk cId="2842491048" sldId="414"/>
            <ac:spMk id="20" creationId="{E96CEB30-5E70-52E4-947B-DD7AB7069903}"/>
          </ac:spMkLst>
        </pc:spChg>
        <pc:spChg chg="add del mod">
          <ac:chgData name="Koen Verbeeck" userId="24d0e79a7fd977da" providerId="LiveId" clId="{BA5CD2F8-66DA-43DE-8187-1C492E55A66A}" dt="2023-10-13T19:00:55.616" v="503" actId="478"/>
          <ac:spMkLst>
            <pc:docMk/>
            <pc:sldMk cId="2842491048" sldId="414"/>
            <ac:spMk id="22" creationId="{C60D137C-4356-8E70-192C-3265C33D1DFF}"/>
          </ac:spMkLst>
        </pc:spChg>
        <pc:spChg chg="add mod">
          <ac:chgData name="Koen Verbeeck" userId="24d0e79a7fd977da" providerId="LiveId" clId="{BA5CD2F8-66DA-43DE-8187-1C492E55A66A}" dt="2023-10-13T19:01:55.237" v="540" actId="1076"/>
          <ac:spMkLst>
            <pc:docMk/>
            <pc:sldMk cId="2842491048" sldId="414"/>
            <ac:spMk id="23" creationId="{AFAEFF85-8F03-B2AE-EFFA-F1FF75F86A28}"/>
          </ac:spMkLst>
        </pc:spChg>
        <pc:picChg chg="add del mod">
          <ac:chgData name="Koen Verbeeck" userId="24d0e79a7fd977da" providerId="LiveId" clId="{BA5CD2F8-66DA-43DE-8187-1C492E55A66A}" dt="2023-10-13T18:55:29.423" v="489"/>
          <ac:picMkLst>
            <pc:docMk/>
            <pc:sldMk cId="2842491048" sldId="414"/>
            <ac:picMk id="11" creationId="{FA994264-3189-8982-BE49-A6A5D7582CCC}"/>
          </ac:picMkLst>
        </pc:picChg>
        <pc:picChg chg="add del mod">
          <ac:chgData name="Koen Verbeeck" userId="24d0e79a7fd977da" providerId="LiveId" clId="{BA5CD2F8-66DA-43DE-8187-1C492E55A66A}" dt="2023-10-13T18:55:35.416" v="493"/>
          <ac:picMkLst>
            <pc:docMk/>
            <pc:sldMk cId="2842491048" sldId="414"/>
            <ac:picMk id="16" creationId="{FF3B2F7B-85C0-62F9-2225-251E38953599}"/>
          </ac:picMkLst>
        </pc:picChg>
        <pc:picChg chg="add mod">
          <ac:chgData name="Koen Verbeeck" userId="24d0e79a7fd977da" providerId="LiveId" clId="{BA5CD2F8-66DA-43DE-8187-1C492E55A66A}" dt="2023-10-13T18:55:41.497" v="495" actId="1076"/>
          <ac:picMkLst>
            <pc:docMk/>
            <pc:sldMk cId="2842491048" sldId="414"/>
            <ac:picMk id="21" creationId="{72887386-94EE-AEC3-C1AB-D4F7A83B5B63}"/>
          </ac:picMkLst>
        </pc:picChg>
      </pc:sldChg>
      <pc:sldChg chg="addSp delSp modSp new mod ord">
        <pc:chgData name="Koen Verbeeck" userId="24d0e79a7fd977da" providerId="LiveId" clId="{BA5CD2F8-66DA-43DE-8187-1C492E55A66A}" dt="2023-10-17T10:20:12.189" v="1065" actId="2711"/>
        <pc:sldMkLst>
          <pc:docMk/>
          <pc:sldMk cId="569114978" sldId="415"/>
        </pc:sldMkLst>
        <pc:spChg chg="del">
          <ac:chgData name="Koen Verbeeck" userId="24d0e79a7fd977da" providerId="LiveId" clId="{BA5CD2F8-66DA-43DE-8187-1C492E55A66A}" dt="2023-10-13T18:36:44.713" v="328" actId="478"/>
          <ac:spMkLst>
            <pc:docMk/>
            <pc:sldMk cId="569114978" sldId="415"/>
            <ac:spMk id="2" creationId="{05A45780-536C-8D39-7B1E-07D90148A981}"/>
          </ac:spMkLst>
        </pc:spChg>
        <pc:spChg chg="mod">
          <ac:chgData name="Koen Verbeeck" userId="24d0e79a7fd977da" providerId="LiveId" clId="{BA5CD2F8-66DA-43DE-8187-1C492E55A66A}" dt="2023-10-17T10:20:06.834" v="1064" actId="2711"/>
          <ac:spMkLst>
            <pc:docMk/>
            <pc:sldMk cId="569114978" sldId="415"/>
            <ac:spMk id="4" creationId="{FAF2F6F5-D75D-E8EC-26C8-3AF9794B9DA8}"/>
          </ac:spMkLst>
        </pc:spChg>
        <pc:spChg chg="mod">
          <ac:chgData name="Koen Verbeeck" userId="24d0e79a7fd977da" providerId="LiveId" clId="{BA5CD2F8-66DA-43DE-8187-1C492E55A66A}" dt="2023-10-13T18:36:38.284" v="327"/>
          <ac:spMkLst>
            <pc:docMk/>
            <pc:sldMk cId="569114978" sldId="415"/>
            <ac:spMk id="5" creationId="{50FBA1A8-3CA1-1D4D-2129-FA6D0162C722}"/>
          </ac:spMkLst>
        </pc:spChg>
        <pc:spChg chg="mod">
          <ac:chgData name="Koen Verbeeck" userId="24d0e79a7fd977da" providerId="LiveId" clId="{BA5CD2F8-66DA-43DE-8187-1C492E55A66A}" dt="2023-10-17T10:20:12.189" v="1065" actId="2711"/>
          <ac:spMkLst>
            <pc:docMk/>
            <pc:sldMk cId="569114978" sldId="415"/>
            <ac:spMk id="6" creationId="{5C3B644E-6707-BEE0-7333-4604DBB7F1F1}"/>
          </ac:spMkLst>
        </pc:spChg>
        <pc:spChg chg="mod">
          <ac:chgData name="Koen Verbeeck" userId="24d0e79a7fd977da" providerId="LiveId" clId="{BA5CD2F8-66DA-43DE-8187-1C492E55A66A}" dt="2023-10-13T18:36:38.284" v="327"/>
          <ac:spMkLst>
            <pc:docMk/>
            <pc:sldMk cId="569114978" sldId="415"/>
            <ac:spMk id="8" creationId="{6576BA1C-8B65-3CCD-ACBC-C7A39FA58F87}"/>
          </ac:spMkLst>
        </pc:spChg>
        <pc:spChg chg="mod">
          <ac:chgData name="Koen Verbeeck" userId="24d0e79a7fd977da" providerId="LiveId" clId="{BA5CD2F8-66DA-43DE-8187-1C492E55A66A}" dt="2023-10-13T18:36:38.284" v="327"/>
          <ac:spMkLst>
            <pc:docMk/>
            <pc:sldMk cId="569114978" sldId="415"/>
            <ac:spMk id="9" creationId="{C24C3FCE-9E3A-DA0D-227E-CEADF34BB398}"/>
          </ac:spMkLst>
        </pc:spChg>
        <pc:spChg chg="mod">
          <ac:chgData name="Koen Verbeeck" userId="24d0e79a7fd977da" providerId="LiveId" clId="{BA5CD2F8-66DA-43DE-8187-1C492E55A66A}" dt="2023-10-13T18:46:41.573" v="418" actId="20577"/>
          <ac:spMkLst>
            <pc:docMk/>
            <pc:sldMk cId="569114978" sldId="415"/>
            <ac:spMk id="10" creationId="{6200597C-7D98-B533-D0C1-B5B33F313079}"/>
          </ac:spMkLst>
        </pc:spChg>
        <pc:spChg chg="mod">
          <ac:chgData name="Koen Verbeeck" userId="24d0e79a7fd977da" providerId="LiveId" clId="{BA5CD2F8-66DA-43DE-8187-1C492E55A66A}" dt="2023-10-13T18:36:38.284" v="327"/>
          <ac:spMkLst>
            <pc:docMk/>
            <pc:sldMk cId="569114978" sldId="415"/>
            <ac:spMk id="13" creationId="{95BBC0B6-4F20-20BC-F897-39FF0E809B3A}"/>
          </ac:spMkLst>
        </pc:spChg>
        <pc:spChg chg="mod">
          <ac:chgData name="Koen Verbeeck" userId="24d0e79a7fd977da" providerId="LiveId" clId="{BA5CD2F8-66DA-43DE-8187-1C492E55A66A}" dt="2023-10-13T18:36:38.284" v="327"/>
          <ac:spMkLst>
            <pc:docMk/>
            <pc:sldMk cId="569114978" sldId="415"/>
            <ac:spMk id="14" creationId="{21C01CCF-1AFF-7B8E-8827-EDBCEDBD79B9}"/>
          </ac:spMkLst>
        </pc:spChg>
        <pc:spChg chg="mod">
          <ac:chgData name="Koen Verbeeck" userId="24d0e79a7fd977da" providerId="LiveId" clId="{BA5CD2F8-66DA-43DE-8187-1C492E55A66A}" dt="2023-10-13T18:36:38.284" v="327"/>
          <ac:spMkLst>
            <pc:docMk/>
            <pc:sldMk cId="569114978" sldId="415"/>
            <ac:spMk id="15" creationId="{EABD1034-EF14-2C9F-E3F3-B36CB9702F0B}"/>
          </ac:spMkLst>
        </pc:spChg>
        <pc:spChg chg="mod">
          <ac:chgData name="Koen Verbeeck" userId="24d0e79a7fd977da" providerId="LiveId" clId="{BA5CD2F8-66DA-43DE-8187-1C492E55A66A}" dt="2023-10-13T18:36:38.284" v="327"/>
          <ac:spMkLst>
            <pc:docMk/>
            <pc:sldMk cId="569114978" sldId="415"/>
            <ac:spMk id="16" creationId="{B0669EAD-449A-7B41-3BC3-7C0C4E9E2154}"/>
          </ac:spMkLst>
        </pc:spChg>
        <pc:spChg chg="mod">
          <ac:chgData name="Koen Verbeeck" userId="24d0e79a7fd977da" providerId="LiveId" clId="{BA5CD2F8-66DA-43DE-8187-1C492E55A66A}" dt="2023-10-13T18:36:38.284" v="327"/>
          <ac:spMkLst>
            <pc:docMk/>
            <pc:sldMk cId="569114978" sldId="415"/>
            <ac:spMk id="17" creationId="{CA8CEA87-867E-5AA3-6CC4-D0F3B786E68A}"/>
          </ac:spMkLst>
        </pc:spChg>
        <pc:spChg chg="mod">
          <ac:chgData name="Koen Verbeeck" userId="24d0e79a7fd977da" providerId="LiveId" clId="{BA5CD2F8-66DA-43DE-8187-1C492E55A66A}" dt="2023-10-13T18:36:38.284" v="327"/>
          <ac:spMkLst>
            <pc:docMk/>
            <pc:sldMk cId="569114978" sldId="415"/>
            <ac:spMk id="18" creationId="{7A3DCA83-E030-830F-0B53-81E174D60312}"/>
          </ac:spMkLst>
        </pc:spChg>
        <pc:spChg chg="mod">
          <ac:chgData name="Koen Verbeeck" userId="24d0e79a7fd977da" providerId="LiveId" clId="{BA5CD2F8-66DA-43DE-8187-1C492E55A66A}" dt="2023-10-13T18:36:38.284" v="327"/>
          <ac:spMkLst>
            <pc:docMk/>
            <pc:sldMk cId="569114978" sldId="415"/>
            <ac:spMk id="19" creationId="{5DCF5793-BCF2-AA96-312D-1851928CCF27}"/>
          </ac:spMkLst>
        </pc:spChg>
        <pc:spChg chg="mod">
          <ac:chgData name="Koen Verbeeck" userId="24d0e79a7fd977da" providerId="LiveId" clId="{BA5CD2F8-66DA-43DE-8187-1C492E55A66A}" dt="2023-10-13T18:36:38.284" v="327"/>
          <ac:spMkLst>
            <pc:docMk/>
            <pc:sldMk cId="569114978" sldId="415"/>
            <ac:spMk id="20" creationId="{B6D0E0D8-003B-4DB7-9ACE-C034D8BD0F6B}"/>
          </ac:spMkLst>
        </pc:spChg>
        <pc:spChg chg="mod">
          <ac:chgData name="Koen Verbeeck" userId="24d0e79a7fd977da" providerId="LiveId" clId="{BA5CD2F8-66DA-43DE-8187-1C492E55A66A}" dt="2023-10-13T18:36:38.284" v="327"/>
          <ac:spMkLst>
            <pc:docMk/>
            <pc:sldMk cId="569114978" sldId="415"/>
            <ac:spMk id="21" creationId="{45AA9933-2181-C9C4-069B-9F20EFD4C625}"/>
          </ac:spMkLst>
        </pc:spChg>
        <pc:spChg chg="mod">
          <ac:chgData name="Koen Verbeeck" userId="24d0e79a7fd977da" providerId="LiveId" clId="{BA5CD2F8-66DA-43DE-8187-1C492E55A66A}" dt="2023-10-13T18:36:38.284" v="327"/>
          <ac:spMkLst>
            <pc:docMk/>
            <pc:sldMk cId="569114978" sldId="415"/>
            <ac:spMk id="22" creationId="{3DDDE2DE-6A04-4DAC-E183-BEEEA3390EEF}"/>
          </ac:spMkLst>
        </pc:spChg>
        <pc:spChg chg="mod">
          <ac:chgData name="Koen Verbeeck" userId="24d0e79a7fd977da" providerId="LiveId" clId="{BA5CD2F8-66DA-43DE-8187-1C492E55A66A}" dt="2023-10-13T18:59:42.910" v="498" actId="20577"/>
          <ac:spMkLst>
            <pc:docMk/>
            <pc:sldMk cId="569114978" sldId="415"/>
            <ac:spMk id="23" creationId="{75C82EE4-EE2F-CB38-60EC-C5FE1FF0B820}"/>
          </ac:spMkLst>
        </pc:spChg>
        <pc:spChg chg="add mod">
          <ac:chgData name="Koen Verbeeck" userId="24d0e79a7fd977da" providerId="LiveId" clId="{BA5CD2F8-66DA-43DE-8187-1C492E55A66A}" dt="2023-10-13T18:36:38.284" v="327"/>
          <ac:spMkLst>
            <pc:docMk/>
            <pc:sldMk cId="569114978" sldId="415"/>
            <ac:spMk id="24" creationId="{C82795C2-3F28-3A7D-749D-E1263F1DA34D}"/>
          </ac:spMkLst>
        </pc:spChg>
        <pc:grpChg chg="add mod">
          <ac:chgData name="Koen Verbeeck" userId="24d0e79a7fd977da" providerId="LiveId" clId="{BA5CD2F8-66DA-43DE-8187-1C492E55A66A}" dt="2023-10-13T18:36:38.284" v="327"/>
          <ac:grpSpMkLst>
            <pc:docMk/>
            <pc:sldMk cId="569114978" sldId="415"/>
            <ac:grpSpMk id="3" creationId="{A2F42A54-4FF2-C5D7-0DD3-DEC49A78D5B2}"/>
          </ac:grpSpMkLst>
        </pc:grpChg>
        <pc:grpChg chg="add mod">
          <ac:chgData name="Koen Verbeeck" userId="24d0e79a7fd977da" providerId="LiveId" clId="{BA5CD2F8-66DA-43DE-8187-1C492E55A66A}" dt="2023-10-13T18:36:38.284" v="327"/>
          <ac:grpSpMkLst>
            <pc:docMk/>
            <pc:sldMk cId="569114978" sldId="415"/>
            <ac:grpSpMk id="7" creationId="{5A9D353B-8489-202C-44A7-A87078AC1A7A}"/>
          </ac:grpSpMkLst>
        </pc:grpChg>
        <pc:grpChg chg="mod">
          <ac:chgData name="Koen Verbeeck" userId="24d0e79a7fd977da" providerId="LiveId" clId="{BA5CD2F8-66DA-43DE-8187-1C492E55A66A}" dt="2023-10-13T18:36:38.284" v="327"/>
          <ac:grpSpMkLst>
            <pc:docMk/>
            <pc:sldMk cId="569114978" sldId="415"/>
            <ac:grpSpMk id="11" creationId="{B4457770-69DE-47A7-3F3F-B2070B905BB3}"/>
          </ac:grpSpMkLst>
        </pc:grpChg>
        <pc:grpChg chg="mod">
          <ac:chgData name="Koen Verbeeck" userId="24d0e79a7fd977da" providerId="LiveId" clId="{BA5CD2F8-66DA-43DE-8187-1C492E55A66A}" dt="2023-10-13T18:36:38.284" v="327"/>
          <ac:grpSpMkLst>
            <pc:docMk/>
            <pc:sldMk cId="569114978" sldId="415"/>
            <ac:grpSpMk id="12" creationId="{9CB93A52-A5AD-E8C3-57E0-A914A2333602}"/>
          </ac:grpSpMkLst>
        </pc:grpChg>
      </pc:sldChg>
      <pc:sldChg chg="addSp delSp modSp new mod">
        <pc:chgData name="Koen Verbeeck" userId="24d0e79a7fd977da" providerId="LiveId" clId="{BA5CD2F8-66DA-43DE-8187-1C492E55A66A}" dt="2023-10-13T18:44:05.743" v="401" actId="1036"/>
        <pc:sldMkLst>
          <pc:docMk/>
          <pc:sldMk cId="3477104516" sldId="416"/>
        </pc:sldMkLst>
        <pc:spChg chg="del">
          <ac:chgData name="Koen Verbeeck" userId="24d0e79a7fd977da" providerId="LiveId" clId="{BA5CD2F8-66DA-43DE-8187-1C492E55A66A}" dt="2023-10-13T18:43:51.546" v="331" actId="478"/>
          <ac:spMkLst>
            <pc:docMk/>
            <pc:sldMk cId="3477104516" sldId="416"/>
            <ac:spMk id="2" creationId="{AC487B59-C7C7-429D-4653-FF9BF7B218A9}"/>
          </ac:spMkLst>
        </pc:spChg>
        <pc:spChg chg="add mod">
          <ac:chgData name="Koen Verbeeck" userId="24d0e79a7fd977da" providerId="LiveId" clId="{BA5CD2F8-66DA-43DE-8187-1C492E55A66A}" dt="2023-10-13T18:44:05.743" v="401" actId="1036"/>
          <ac:spMkLst>
            <pc:docMk/>
            <pc:sldMk cId="3477104516" sldId="416"/>
            <ac:spMk id="4" creationId="{A84E9462-6B9D-8552-F70A-4CACB3D3DEA5}"/>
          </ac:spMkLst>
        </pc:spChg>
        <pc:picChg chg="add mod">
          <ac:chgData name="Koen Verbeeck" userId="24d0e79a7fd977da" providerId="LiveId" clId="{BA5CD2F8-66DA-43DE-8187-1C492E55A66A}" dt="2023-10-13T18:43:59.523" v="383" actId="1035"/>
          <ac:picMkLst>
            <pc:docMk/>
            <pc:sldMk cId="3477104516" sldId="416"/>
            <ac:picMk id="3" creationId="{DC28AEFA-E3E8-37EF-74D2-12B5FCE5CABF}"/>
          </ac:picMkLst>
        </pc:picChg>
      </pc:sldChg>
      <pc:sldChg chg="addSp delSp modSp new mod modClrScheme chgLayout">
        <pc:chgData name="Koen Verbeeck" userId="24d0e79a7fd977da" providerId="LiveId" clId="{BA5CD2F8-66DA-43DE-8187-1C492E55A66A}" dt="2023-10-13T18:48:25.303" v="432" actId="20577"/>
        <pc:sldMkLst>
          <pc:docMk/>
          <pc:sldMk cId="957152188" sldId="417"/>
        </pc:sldMkLst>
        <pc:spChg chg="del mod ord">
          <ac:chgData name="Koen Verbeeck" userId="24d0e79a7fd977da" providerId="LiveId" clId="{BA5CD2F8-66DA-43DE-8187-1C492E55A66A}" dt="2023-10-13T18:48:21.253" v="420" actId="700"/>
          <ac:spMkLst>
            <pc:docMk/>
            <pc:sldMk cId="957152188" sldId="417"/>
            <ac:spMk id="2" creationId="{E866CA00-B3A5-9C35-BDD3-D32C24C01816}"/>
          </ac:spMkLst>
        </pc:spChg>
        <pc:spChg chg="add mod ord">
          <ac:chgData name="Koen Verbeeck" userId="24d0e79a7fd977da" providerId="LiveId" clId="{BA5CD2F8-66DA-43DE-8187-1C492E55A66A}" dt="2023-10-13T18:48:25.303" v="432" actId="20577"/>
          <ac:spMkLst>
            <pc:docMk/>
            <pc:sldMk cId="957152188" sldId="417"/>
            <ac:spMk id="3" creationId="{3D26A323-ADFE-A02B-E06E-9E5FC358A01F}"/>
          </ac:spMkLst>
        </pc:spChg>
        <pc:spChg chg="add mod ord">
          <ac:chgData name="Koen Verbeeck" userId="24d0e79a7fd977da" providerId="LiveId" clId="{BA5CD2F8-66DA-43DE-8187-1C492E55A66A}" dt="2023-10-13T18:48:21.253" v="420" actId="700"/>
          <ac:spMkLst>
            <pc:docMk/>
            <pc:sldMk cId="957152188" sldId="417"/>
            <ac:spMk id="4" creationId="{3C6AC153-25A0-2525-2321-761831C6E718}"/>
          </ac:spMkLst>
        </pc:spChg>
      </pc:sldChg>
      <pc:sldChg chg="modSp add mod modAnim">
        <pc:chgData name="Koen Verbeeck" userId="24d0e79a7fd977da" providerId="LiveId" clId="{BA5CD2F8-66DA-43DE-8187-1C492E55A66A}" dt="2023-10-13T18:54:46.619" v="481" actId="20577"/>
        <pc:sldMkLst>
          <pc:docMk/>
          <pc:sldMk cId="2163747910" sldId="418"/>
        </pc:sldMkLst>
        <pc:spChg chg="mod">
          <ac:chgData name="Koen Verbeeck" userId="24d0e79a7fd977da" providerId="LiveId" clId="{BA5CD2F8-66DA-43DE-8187-1C492E55A66A}" dt="2023-10-13T18:54:46.619" v="481" actId="20577"/>
          <ac:spMkLst>
            <pc:docMk/>
            <pc:sldMk cId="2163747910" sldId="418"/>
            <ac:spMk id="13" creationId="{0A925C7F-DC41-244E-985A-B5DACDDC487B}"/>
          </ac:spMkLst>
        </pc:spChg>
      </pc:sldChg>
      <pc:sldChg chg="addSp delSp modSp new mod modAnim">
        <pc:chgData name="Koen Verbeeck" userId="24d0e79a7fd977da" providerId="LiveId" clId="{BA5CD2F8-66DA-43DE-8187-1C492E55A66A}" dt="2023-10-13T19:10:07.430" v="563"/>
        <pc:sldMkLst>
          <pc:docMk/>
          <pc:sldMk cId="96455330" sldId="419"/>
        </pc:sldMkLst>
        <pc:spChg chg="del">
          <ac:chgData name="Koen Verbeeck" userId="24d0e79a7fd977da" providerId="LiveId" clId="{BA5CD2F8-66DA-43DE-8187-1C492E55A66A}" dt="2023-10-13T19:03:20.777" v="544" actId="478"/>
          <ac:spMkLst>
            <pc:docMk/>
            <pc:sldMk cId="96455330" sldId="419"/>
            <ac:spMk id="2" creationId="{43F11011-BD61-E5D8-CE07-6D1BAA455CFE}"/>
          </ac:spMkLst>
        </pc:spChg>
        <pc:spChg chg="del">
          <ac:chgData name="Koen Verbeeck" userId="24d0e79a7fd977da" providerId="LiveId" clId="{BA5CD2F8-66DA-43DE-8187-1C492E55A66A}" dt="2023-10-13T19:03:20.777" v="544" actId="478"/>
          <ac:spMkLst>
            <pc:docMk/>
            <pc:sldMk cId="96455330" sldId="419"/>
            <ac:spMk id="3" creationId="{0BB87403-AE81-EF50-9327-963D2AC5D655}"/>
          </ac:spMkLst>
        </pc:spChg>
        <pc:spChg chg="add mod">
          <ac:chgData name="Koen Verbeeck" userId="24d0e79a7fd977da" providerId="LiveId" clId="{BA5CD2F8-66DA-43DE-8187-1C492E55A66A}" dt="2023-10-13T19:03:21.686" v="545"/>
          <ac:spMkLst>
            <pc:docMk/>
            <pc:sldMk cId="96455330" sldId="419"/>
            <ac:spMk id="4" creationId="{5BCCAC85-A169-5C9C-2F8D-E2A4D0E224F0}"/>
          </ac:spMkLst>
        </pc:spChg>
        <pc:spChg chg="add mod">
          <ac:chgData name="Koen Verbeeck" userId="24d0e79a7fd977da" providerId="LiveId" clId="{BA5CD2F8-66DA-43DE-8187-1C492E55A66A}" dt="2023-10-13T19:03:21.686" v="545"/>
          <ac:spMkLst>
            <pc:docMk/>
            <pc:sldMk cId="96455330" sldId="419"/>
            <ac:spMk id="5" creationId="{BF6E282F-67FC-7ED2-4D44-B0AF9033E250}"/>
          </ac:spMkLst>
        </pc:spChg>
        <pc:spChg chg="add mod">
          <ac:chgData name="Koen Verbeeck" userId="24d0e79a7fd977da" providerId="LiveId" clId="{BA5CD2F8-66DA-43DE-8187-1C492E55A66A}" dt="2023-10-13T19:03:21.686" v="545"/>
          <ac:spMkLst>
            <pc:docMk/>
            <pc:sldMk cId="96455330" sldId="419"/>
            <ac:spMk id="6" creationId="{6C24007A-9C62-6C76-4AFC-D5214D998128}"/>
          </ac:spMkLst>
        </pc:spChg>
        <pc:spChg chg="add mod">
          <ac:chgData name="Koen Verbeeck" userId="24d0e79a7fd977da" providerId="LiveId" clId="{BA5CD2F8-66DA-43DE-8187-1C492E55A66A}" dt="2023-10-13T19:03:21.686" v="545"/>
          <ac:spMkLst>
            <pc:docMk/>
            <pc:sldMk cId="96455330" sldId="419"/>
            <ac:spMk id="7" creationId="{D2112668-28BB-BB38-E5BE-F58081770EFD}"/>
          </ac:spMkLst>
        </pc:spChg>
        <pc:spChg chg="mod">
          <ac:chgData name="Koen Verbeeck" userId="24d0e79a7fd977da" providerId="LiveId" clId="{BA5CD2F8-66DA-43DE-8187-1C492E55A66A}" dt="2023-10-13T19:03:21.686" v="545"/>
          <ac:spMkLst>
            <pc:docMk/>
            <pc:sldMk cId="96455330" sldId="419"/>
            <ac:spMk id="10" creationId="{B2E8B7E9-A388-6C95-6CFA-8D871CD785CA}"/>
          </ac:spMkLst>
        </pc:spChg>
        <pc:spChg chg="add mod">
          <ac:chgData name="Koen Verbeeck" userId="24d0e79a7fd977da" providerId="LiveId" clId="{BA5CD2F8-66DA-43DE-8187-1C492E55A66A}" dt="2023-10-13T19:03:21.686" v="545"/>
          <ac:spMkLst>
            <pc:docMk/>
            <pc:sldMk cId="96455330" sldId="419"/>
            <ac:spMk id="20" creationId="{7ABABCA7-1ADE-EEE3-217B-5AD65400721C}"/>
          </ac:spMkLst>
        </pc:spChg>
        <pc:spChg chg="add mod">
          <ac:chgData name="Koen Verbeeck" userId="24d0e79a7fd977da" providerId="LiveId" clId="{BA5CD2F8-66DA-43DE-8187-1C492E55A66A}" dt="2023-10-13T19:03:21.686" v="545"/>
          <ac:spMkLst>
            <pc:docMk/>
            <pc:sldMk cId="96455330" sldId="419"/>
            <ac:spMk id="21" creationId="{851A5B2A-9223-587A-C0FD-95BD27182C5A}"/>
          </ac:spMkLst>
        </pc:spChg>
        <pc:spChg chg="add mod">
          <ac:chgData name="Koen Verbeeck" userId="24d0e79a7fd977da" providerId="LiveId" clId="{BA5CD2F8-66DA-43DE-8187-1C492E55A66A}" dt="2023-10-13T19:03:21.686" v="545"/>
          <ac:spMkLst>
            <pc:docMk/>
            <pc:sldMk cId="96455330" sldId="419"/>
            <ac:spMk id="22" creationId="{48BB3305-5EB6-DF62-E514-A0FB87FB8AF5}"/>
          </ac:spMkLst>
        </pc:spChg>
        <pc:spChg chg="add mod">
          <ac:chgData name="Koen Verbeeck" userId="24d0e79a7fd977da" providerId="LiveId" clId="{BA5CD2F8-66DA-43DE-8187-1C492E55A66A}" dt="2023-10-13T19:03:21.686" v="545"/>
          <ac:spMkLst>
            <pc:docMk/>
            <pc:sldMk cId="96455330" sldId="419"/>
            <ac:spMk id="23" creationId="{5BDD9553-C6C1-C9A8-DC4C-EBC8FC44AE83}"/>
          </ac:spMkLst>
        </pc:spChg>
        <pc:spChg chg="add mod">
          <ac:chgData name="Koen Verbeeck" userId="24d0e79a7fd977da" providerId="LiveId" clId="{BA5CD2F8-66DA-43DE-8187-1C492E55A66A}" dt="2023-10-13T19:03:21.686" v="545"/>
          <ac:spMkLst>
            <pc:docMk/>
            <pc:sldMk cId="96455330" sldId="419"/>
            <ac:spMk id="24" creationId="{D363E2E8-3017-4C64-1346-AF04C497992B}"/>
          </ac:spMkLst>
        </pc:spChg>
        <pc:spChg chg="add mod">
          <ac:chgData name="Koen Verbeeck" userId="24d0e79a7fd977da" providerId="LiveId" clId="{BA5CD2F8-66DA-43DE-8187-1C492E55A66A}" dt="2023-10-13T19:03:21.686" v="545"/>
          <ac:spMkLst>
            <pc:docMk/>
            <pc:sldMk cId="96455330" sldId="419"/>
            <ac:spMk id="25" creationId="{F1A7A437-99BF-3C42-2BCF-E83C4A354119}"/>
          </ac:spMkLst>
        </pc:spChg>
        <pc:spChg chg="add mod">
          <ac:chgData name="Koen Verbeeck" userId="24d0e79a7fd977da" providerId="LiveId" clId="{BA5CD2F8-66DA-43DE-8187-1C492E55A66A}" dt="2023-10-13T19:03:36.067" v="546"/>
          <ac:spMkLst>
            <pc:docMk/>
            <pc:sldMk cId="96455330" sldId="419"/>
            <ac:spMk id="26" creationId="{3237F6AC-5221-3549-2575-2FD64D135AB5}"/>
          </ac:spMkLst>
        </pc:spChg>
        <pc:spChg chg="add mod">
          <ac:chgData name="Koen Verbeeck" userId="24d0e79a7fd977da" providerId="LiveId" clId="{BA5CD2F8-66DA-43DE-8187-1C492E55A66A}" dt="2023-10-13T19:10:07.430" v="563"/>
          <ac:spMkLst>
            <pc:docMk/>
            <pc:sldMk cId="96455330" sldId="419"/>
            <ac:spMk id="27" creationId="{1F101536-95D5-B7CA-B592-A124FE3DF05B}"/>
          </ac:spMkLst>
        </pc:spChg>
        <pc:grpChg chg="add mod">
          <ac:chgData name="Koen Verbeeck" userId="24d0e79a7fd977da" providerId="LiveId" clId="{BA5CD2F8-66DA-43DE-8187-1C492E55A66A}" dt="2023-10-13T19:03:21.686" v="545"/>
          <ac:grpSpMkLst>
            <pc:docMk/>
            <pc:sldMk cId="96455330" sldId="419"/>
            <ac:grpSpMk id="9" creationId="{AB1D7BFC-AAB3-0A14-E2CA-2681611B80FC}"/>
          </ac:grpSpMkLst>
        </pc:grpChg>
        <pc:cxnChg chg="add mod">
          <ac:chgData name="Koen Verbeeck" userId="24d0e79a7fd977da" providerId="LiveId" clId="{BA5CD2F8-66DA-43DE-8187-1C492E55A66A}" dt="2023-10-13T19:03:21.686" v="545"/>
          <ac:cxnSpMkLst>
            <pc:docMk/>
            <pc:sldMk cId="96455330" sldId="419"/>
            <ac:cxnSpMk id="8" creationId="{BF111252-01AA-A025-998E-2E63815A2F0A}"/>
          </ac:cxnSpMkLst>
        </pc:cxnChg>
        <pc:cxnChg chg="mod">
          <ac:chgData name="Koen Verbeeck" userId="24d0e79a7fd977da" providerId="LiveId" clId="{BA5CD2F8-66DA-43DE-8187-1C492E55A66A}" dt="2023-10-13T19:03:21.686" v="545"/>
          <ac:cxnSpMkLst>
            <pc:docMk/>
            <pc:sldMk cId="96455330" sldId="419"/>
            <ac:cxnSpMk id="11" creationId="{E8025EC2-D7CA-32E2-47DF-954F89F0DC79}"/>
          </ac:cxnSpMkLst>
        </pc:cxnChg>
        <pc:cxnChg chg="mod">
          <ac:chgData name="Koen Verbeeck" userId="24d0e79a7fd977da" providerId="LiveId" clId="{BA5CD2F8-66DA-43DE-8187-1C492E55A66A}" dt="2023-10-13T19:03:21.686" v="545"/>
          <ac:cxnSpMkLst>
            <pc:docMk/>
            <pc:sldMk cId="96455330" sldId="419"/>
            <ac:cxnSpMk id="12" creationId="{E740DBBA-0768-1800-8993-6A001B544F56}"/>
          </ac:cxnSpMkLst>
        </pc:cxnChg>
        <pc:cxnChg chg="mod">
          <ac:chgData name="Koen Verbeeck" userId="24d0e79a7fd977da" providerId="LiveId" clId="{BA5CD2F8-66DA-43DE-8187-1C492E55A66A}" dt="2023-10-13T19:03:21.686" v="545"/>
          <ac:cxnSpMkLst>
            <pc:docMk/>
            <pc:sldMk cId="96455330" sldId="419"/>
            <ac:cxnSpMk id="13" creationId="{2DF0983E-FD6A-268E-3328-83871321B825}"/>
          </ac:cxnSpMkLst>
        </pc:cxnChg>
        <pc:cxnChg chg="mod">
          <ac:chgData name="Koen Verbeeck" userId="24d0e79a7fd977da" providerId="LiveId" clId="{BA5CD2F8-66DA-43DE-8187-1C492E55A66A}" dt="2023-10-13T19:03:21.686" v="545"/>
          <ac:cxnSpMkLst>
            <pc:docMk/>
            <pc:sldMk cId="96455330" sldId="419"/>
            <ac:cxnSpMk id="14" creationId="{AA4B2E49-BF7E-B7DA-91EB-DC336B3BA106}"/>
          </ac:cxnSpMkLst>
        </pc:cxnChg>
        <pc:cxnChg chg="add mod">
          <ac:chgData name="Koen Verbeeck" userId="24d0e79a7fd977da" providerId="LiveId" clId="{BA5CD2F8-66DA-43DE-8187-1C492E55A66A}" dt="2023-10-13T19:03:21.686" v="545"/>
          <ac:cxnSpMkLst>
            <pc:docMk/>
            <pc:sldMk cId="96455330" sldId="419"/>
            <ac:cxnSpMk id="15" creationId="{155BA32F-89FF-BD18-CA2A-33392E0F60BA}"/>
          </ac:cxnSpMkLst>
        </pc:cxnChg>
        <pc:cxnChg chg="add mod">
          <ac:chgData name="Koen Verbeeck" userId="24d0e79a7fd977da" providerId="LiveId" clId="{BA5CD2F8-66DA-43DE-8187-1C492E55A66A}" dt="2023-10-13T19:03:21.686" v="545"/>
          <ac:cxnSpMkLst>
            <pc:docMk/>
            <pc:sldMk cId="96455330" sldId="419"/>
            <ac:cxnSpMk id="16" creationId="{A6F0808F-22B0-42C0-21AE-8FDEC90D5BC6}"/>
          </ac:cxnSpMkLst>
        </pc:cxnChg>
        <pc:cxnChg chg="add mod">
          <ac:chgData name="Koen Verbeeck" userId="24d0e79a7fd977da" providerId="LiveId" clId="{BA5CD2F8-66DA-43DE-8187-1C492E55A66A}" dt="2023-10-13T19:03:21.686" v="545"/>
          <ac:cxnSpMkLst>
            <pc:docMk/>
            <pc:sldMk cId="96455330" sldId="419"/>
            <ac:cxnSpMk id="17" creationId="{4AB94B54-8F86-DF68-C906-C78C0A6340E5}"/>
          </ac:cxnSpMkLst>
        </pc:cxnChg>
        <pc:cxnChg chg="add mod">
          <ac:chgData name="Koen Verbeeck" userId="24d0e79a7fd977da" providerId="LiveId" clId="{BA5CD2F8-66DA-43DE-8187-1C492E55A66A}" dt="2023-10-13T19:03:21.686" v="545"/>
          <ac:cxnSpMkLst>
            <pc:docMk/>
            <pc:sldMk cId="96455330" sldId="419"/>
            <ac:cxnSpMk id="18" creationId="{B405D44B-958A-6D76-A379-CB553844EAA2}"/>
          </ac:cxnSpMkLst>
        </pc:cxnChg>
        <pc:cxnChg chg="add mod">
          <ac:chgData name="Koen Verbeeck" userId="24d0e79a7fd977da" providerId="LiveId" clId="{BA5CD2F8-66DA-43DE-8187-1C492E55A66A}" dt="2023-10-13T19:03:21.686" v="545"/>
          <ac:cxnSpMkLst>
            <pc:docMk/>
            <pc:sldMk cId="96455330" sldId="419"/>
            <ac:cxnSpMk id="19" creationId="{3F11F951-CED4-6C22-0968-FDED7AD119B7}"/>
          </ac:cxnSpMkLst>
        </pc:cxnChg>
      </pc:sldChg>
      <pc:sldChg chg="addSp delSp modSp new mod modAnim">
        <pc:chgData name="Koen Verbeeck" userId="24d0e79a7fd977da" providerId="LiveId" clId="{BA5CD2F8-66DA-43DE-8187-1C492E55A66A}" dt="2023-10-13T19:04:18.760" v="549"/>
        <pc:sldMkLst>
          <pc:docMk/>
          <pc:sldMk cId="465715272" sldId="420"/>
        </pc:sldMkLst>
        <pc:spChg chg="del">
          <ac:chgData name="Koen Verbeeck" userId="24d0e79a7fd977da" providerId="LiveId" clId="{BA5CD2F8-66DA-43DE-8187-1C492E55A66A}" dt="2023-10-13T19:04:18.072" v="548" actId="478"/>
          <ac:spMkLst>
            <pc:docMk/>
            <pc:sldMk cId="465715272" sldId="420"/>
            <ac:spMk id="2" creationId="{F14014B6-7EE7-EE62-CBCC-6B1DDD90B087}"/>
          </ac:spMkLst>
        </pc:spChg>
        <pc:spChg chg="del">
          <ac:chgData name="Koen Verbeeck" userId="24d0e79a7fd977da" providerId="LiveId" clId="{BA5CD2F8-66DA-43DE-8187-1C492E55A66A}" dt="2023-10-13T19:04:18.072" v="548" actId="478"/>
          <ac:spMkLst>
            <pc:docMk/>
            <pc:sldMk cId="465715272" sldId="420"/>
            <ac:spMk id="3" creationId="{0FBC4C0E-F137-78DC-89CE-487837EA63B4}"/>
          </ac:spMkLst>
        </pc:spChg>
        <pc:spChg chg="add mod">
          <ac:chgData name="Koen Verbeeck" userId="24d0e79a7fd977da" providerId="LiveId" clId="{BA5CD2F8-66DA-43DE-8187-1C492E55A66A}" dt="2023-10-13T19:04:18.760" v="549"/>
          <ac:spMkLst>
            <pc:docMk/>
            <pc:sldMk cId="465715272" sldId="420"/>
            <ac:spMk id="4" creationId="{E4E0E25E-1A0C-7D2F-E1E3-BB2366CD0399}"/>
          </ac:spMkLst>
        </pc:spChg>
        <pc:spChg chg="add mod">
          <ac:chgData name="Koen Verbeeck" userId="24d0e79a7fd977da" providerId="LiveId" clId="{BA5CD2F8-66DA-43DE-8187-1C492E55A66A}" dt="2023-10-13T19:04:18.760" v="549"/>
          <ac:spMkLst>
            <pc:docMk/>
            <pc:sldMk cId="465715272" sldId="420"/>
            <ac:spMk id="5" creationId="{73B2F38C-3E1E-08D5-3E25-B6F272637F7A}"/>
          </ac:spMkLst>
        </pc:spChg>
        <pc:spChg chg="add mod">
          <ac:chgData name="Koen Verbeeck" userId="24d0e79a7fd977da" providerId="LiveId" clId="{BA5CD2F8-66DA-43DE-8187-1C492E55A66A}" dt="2023-10-13T19:04:18.760" v="549"/>
          <ac:spMkLst>
            <pc:docMk/>
            <pc:sldMk cId="465715272" sldId="420"/>
            <ac:spMk id="6" creationId="{3288653B-3546-2450-E803-885F1D51E118}"/>
          </ac:spMkLst>
        </pc:spChg>
        <pc:spChg chg="add mod">
          <ac:chgData name="Koen Verbeeck" userId="24d0e79a7fd977da" providerId="LiveId" clId="{BA5CD2F8-66DA-43DE-8187-1C492E55A66A}" dt="2023-10-13T19:04:18.760" v="549"/>
          <ac:spMkLst>
            <pc:docMk/>
            <pc:sldMk cId="465715272" sldId="420"/>
            <ac:spMk id="7" creationId="{39D3B4A4-5092-A72F-948A-0BF821F2AA2B}"/>
          </ac:spMkLst>
        </pc:spChg>
        <pc:spChg chg="add mod">
          <ac:chgData name="Koen Verbeeck" userId="24d0e79a7fd977da" providerId="LiveId" clId="{BA5CD2F8-66DA-43DE-8187-1C492E55A66A}" dt="2023-10-13T19:04:18.760" v="549"/>
          <ac:spMkLst>
            <pc:docMk/>
            <pc:sldMk cId="465715272" sldId="420"/>
            <ac:spMk id="8" creationId="{9DD47693-562D-D815-76EE-0ACBFC90E03D}"/>
          </ac:spMkLst>
        </pc:spChg>
        <pc:spChg chg="add mod">
          <ac:chgData name="Koen Verbeeck" userId="24d0e79a7fd977da" providerId="LiveId" clId="{BA5CD2F8-66DA-43DE-8187-1C492E55A66A}" dt="2023-10-13T19:04:18.760" v="549"/>
          <ac:spMkLst>
            <pc:docMk/>
            <pc:sldMk cId="465715272" sldId="420"/>
            <ac:spMk id="9" creationId="{73A72225-646F-CDFE-8019-76480FE431DB}"/>
          </ac:spMkLst>
        </pc:spChg>
        <pc:spChg chg="mod">
          <ac:chgData name="Koen Verbeeck" userId="24d0e79a7fd977da" providerId="LiveId" clId="{BA5CD2F8-66DA-43DE-8187-1C492E55A66A}" dt="2023-10-13T19:04:18.760" v="549"/>
          <ac:spMkLst>
            <pc:docMk/>
            <pc:sldMk cId="465715272" sldId="420"/>
            <ac:spMk id="11" creationId="{1318D7CD-5E70-53CE-A2F3-B92BB34E9E89}"/>
          </ac:spMkLst>
        </pc:spChg>
        <pc:spChg chg="add mod">
          <ac:chgData name="Koen Verbeeck" userId="24d0e79a7fd977da" providerId="LiveId" clId="{BA5CD2F8-66DA-43DE-8187-1C492E55A66A}" dt="2023-10-13T19:04:18.760" v="549"/>
          <ac:spMkLst>
            <pc:docMk/>
            <pc:sldMk cId="465715272" sldId="420"/>
            <ac:spMk id="17" creationId="{D69C1FAA-CEC0-0602-7AAA-0CC283FF7ABD}"/>
          </ac:spMkLst>
        </pc:spChg>
        <pc:spChg chg="add mod">
          <ac:chgData name="Koen Verbeeck" userId="24d0e79a7fd977da" providerId="LiveId" clId="{BA5CD2F8-66DA-43DE-8187-1C492E55A66A}" dt="2023-10-13T19:04:18.760" v="549"/>
          <ac:spMkLst>
            <pc:docMk/>
            <pc:sldMk cId="465715272" sldId="420"/>
            <ac:spMk id="18" creationId="{D7B3DFDA-AEEC-92E8-84A5-D4DA514FBD7B}"/>
          </ac:spMkLst>
        </pc:spChg>
        <pc:spChg chg="add mod">
          <ac:chgData name="Koen Verbeeck" userId="24d0e79a7fd977da" providerId="LiveId" clId="{BA5CD2F8-66DA-43DE-8187-1C492E55A66A}" dt="2023-10-13T19:04:18.760" v="549"/>
          <ac:spMkLst>
            <pc:docMk/>
            <pc:sldMk cId="465715272" sldId="420"/>
            <ac:spMk id="19" creationId="{474646ED-5811-12C6-9B0A-5747394BB936}"/>
          </ac:spMkLst>
        </pc:spChg>
        <pc:spChg chg="add mod">
          <ac:chgData name="Koen Verbeeck" userId="24d0e79a7fd977da" providerId="LiveId" clId="{BA5CD2F8-66DA-43DE-8187-1C492E55A66A}" dt="2023-10-13T19:04:18.760" v="549"/>
          <ac:spMkLst>
            <pc:docMk/>
            <pc:sldMk cId="465715272" sldId="420"/>
            <ac:spMk id="20" creationId="{9962D3D1-96E7-EC8F-0AD2-D48D267AF2CE}"/>
          </ac:spMkLst>
        </pc:spChg>
        <pc:spChg chg="mod">
          <ac:chgData name="Koen Verbeeck" userId="24d0e79a7fd977da" providerId="LiveId" clId="{BA5CD2F8-66DA-43DE-8187-1C492E55A66A}" dt="2023-10-13T19:04:18.760" v="549"/>
          <ac:spMkLst>
            <pc:docMk/>
            <pc:sldMk cId="465715272" sldId="420"/>
            <ac:spMk id="25" creationId="{660788F1-1768-F86E-B05E-3CC0DFC7DD6D}"/>
          </ac:spMkLst>
        </pc:spChg>
        <pc:spChg chg="mod">
          <ac:chgData name="Koen Verbeeck" userId="24d0e79a7fd977da" providerId="LiveId" clId="{BA5CD2F8-66DA-43DE-8187-1C492E55A66A}" dt="2023-10-13T19:04:18.760" v="549"/>
          <ac:spMkLst>
            <pc:docMk/>
            <pc:sldMk cId="465715272" sldId="420"/>
            <ac:spMk id="26" creationId="{A87B599F-7A39-5F14-8367-4F40649C304C}"/>
          </ac:spMkLst>
        </pc:spChg>
        <pc:spChg chg="mod">
          <ac:chgData name="Koen Verbeeck" userId="24d0e79a7fd977da" providerId="LiveId" clId="{BA5CD2F8-66DA-43DE-8187-1C492E55A66A}" dt="2023-10-13T19:04:18.760" v="549"/>
          <ac:spMkLst>
            <pc:docMk/>
            <pc:sldMk cId="465715272" sldId="420"/>
            <ac:spMk id="31" creationId="{FC7878C3-ED0F-1B69-F398-18E69AD2B980}"/>
          </ac:spMkLst>
        </pc:spChg>
        <pc:spChg chg="mod">
          <ac:chgData name="Koen Verbeeck" userId="24d0e79a7fd977da" providerId="LiveId" clId="{BA5CD2F8-66DA-43DE-8187-1C492E55A66A}" dt="2023-10-13T19:04:18.760" v="549"/>
          <ac:spMkLst>
            <pc:docMk/>
            <pc:sldMk cId="465715272" sldId="420"/>
            <ac:spMk id="32" creationId="{FC08555B-AC74-9022-0001-759F456DAFCF}"/>
          </ac:spMkLst>
        </pc:spChg>
        <pc:spChg chg="mod">
          <ac:chgData name="Koen Verbeeck" userId="24d0e79a7fd977da" providerId="LiveId" clId="{BA5CD2F8-66DA-43DE-8187-1C492E55A66A}" dt="2023-10-13T19:04:18.760" v="549"/>
          <ac:spMkLst>
            <pc:docMk/>
            <pc:sldMk cId="465715272" sldId="420"/>
            <ac:spMk id="37" creationId="{23B0772B-FA6A-B2B4-342C-7A13B0C856F2}"/>
          </ac:spMkLst>
        </pc:spChg>
        <pc:spChg chg="mod">
          <ac:chgData name="Koen Verbeeck" userId="24d0e79a7fd977da" providerId="LiveId" clId="{BA5CD2F8-66DA-43DE-8187-1C492E55A66A}" dt="2023-10-13T19:04:18.760" v="549"/>
          <ac:spMkLst>
            <pc:docMk/>
            <pc:sldMk cId="465715272" sldId="420"/>
            <ac:spMk id="38" creationId="{8AB02624-9B4B-BD8C-FC6D-C2A1ADB5F740}"/>
          </ac:spMkLst>
        </pc:spChg>
        <pc:spChg chg="add mod">
          <ac:chgData name="Koen Verbeeck" userId="24d0e79a7fd977da" providerId="LiveId" clId="{BA5CD2F8-66DA-43DE-8187-1C492E55A66A}" dt="2023-10-13T19:04:18.760" v="549"/>
          <ac:spMkLst>
            <pc:docMk/>
            <pc:sldMk cId="465715272" sldId="420"/>
            <ac:spMk id="43" creationId="{9980DA83-877D-E2CD-E5FF-40427FFED437}"/>
          </ac:spMkLst>
        </pc:spChg>
        <pc:spChg chg="add mod">
          <ac:chgData name="Koen Verbeeck" userId="24d0e79a7fd977da" providerId="LiveId" clId="{BA5CD2F8-66DA-43DE-8187-1C492E55A66A}" dt="2023-10-13T19:04:18.760" v="549"/>
          <ac:spMkLst>
            <pc:docMk/>
            <pc:sldMk cId="465715272" sldId="420"/>
            <ac:spMk id="44" creationId="{F3EC14B6-B8AF-0D5B-8BD6-503621F9E36A}"/>
          </ac:spMkLst>
        </pc:spChg>
        <pc:spChg chg="add mod">
          <ac:chgData name="Koen Verbeeck" userId="24d0e79a7fd977da" providerId="LiveId" clId="{BA5CD2F8-66DA-43DE-8187-1C492E55A66A}" dt="2023-10-13T19:04:18.760" v="549"/>
          <ac:spMkLst>
            <pc:docMk/>
            <pc:sldMk cId="465715272" sldId="420"/>
            <ac:spMk id="45" creationId="{DE6EE537-28B7-7072-1BC7-A7B1A8C3D05F}"/>
          </ac:spMkLst>
        </pc:spChg>
        <pc:spChg chg="add mod">
          <ac:chgData name="Koen Verbeeck" userId="24d0e79a7fd977da" providerId="LiveId" clId="{BA5CD2F8-66DA-43DE-8187-1C492E55A66A}" dt="2023-10-13T19:04:18.760" v="549"/>
          <ac:spMkLst>
            <pc:docMk/>
            <pc:sldMk cId="465715272" sldId="420"/>
            <ac:spMk id="46" creationId="{C5C48A69-48FE-827D-AB4A-18C944F35759}"/>
          </ac:spMkLst>
        </pc:spChg>
        <pc:spChg chg="add mod">
          <ac:chgData name="Koen Verbeeck" userId="24d0e79a7fd977da" providerId="LiveId" clId="{BA5CD2F8-66DA-43DE-8187-1C492E55A66A}" dt="2023-10-13T19:04:18.760" v="549"/>
          <ac:spMkLst>
            <pc:docMk/>
            <pc:sldMk cId="465715272" sldId="420"/>
            <ac:spMk id="47" creationId="{5F8E9E61-4083-2434-F4A1-C82FC6E7CF2B}"/>
          </ac:spMkLst>
        </pc:spChg>
        <pc:spChg chg="add mod">
          <ac:chgData name="Koen Verbeeck" userId="24d0e79a7fd977da" providerId="LiveId" clId="{BA5CD2F8-66DA-43DE-8187-1C492E55A66A}" dt="2023-10-13T19:04:18.760" v="549"/>
          <ac:spMkLst>
            <pc:docMk/>
            <pc:sldMk cId="465715272" sldId="420"/>
            <ac:spMk id="48" creationId="{FC722A66-CA10-39C1-567F-6FD822FAAD7E}"/>
          </ac:spMkLst>
        </pc:spChg>
        <pc:spChg chg="add mod">
          <ac:chgData name="Koen Verbeeck" userId="24d0e79a7fd977da" providerId="LiveId" clId="{BA5CD2F8-66DA-43DE-8187-1C492E55A66A}" dt="2023-10-13T19:04:18.760" v="549"/>
          <ac:spMkLst>
            <pc:docMk/>
            <pc:sldMk cId="465715272" sldId="420"/>
            <ac:spMk id="49" creationId="{5DA23FA0-18BC-AEF6-8AB9-7C5CB6235F1E}"/>
          </ac:spMkLst>
        </pc:spChg>
        <pc:spChg chg="add mod">
          <ac:chgData name="Koen Verbeeck" userId="24d0e79a7fd977da" providerId="LiveId" clId="{BA5CD2F8-66DA-43DE-8187-1C492E55A66A}" dt="2023-10-13T19:04:18.760" v="549"/>
          <ac:spMkLst>
            <pc:docMk/>
            <pc:sldMk cId="465715272" sldId="420"/>
            <ac:spMk id="50" creationId="{F7AF143B-6A9C-950B-A5F1-50658BAABB7F}"/>
          </ac:spMkLst>
        </pc:spChg>
        <pc:spChg chg="add mod">
          <ac:chgData name="Koen Verbeeck" userId="24d0e79a7fd977da" providerId="LiveId" clId="{BA5CD2F8-66DA-43DE-8187-1C492E55A66A}" dt="2023-10-13T19:04:18.760" v="549"/>
          <ac:spMkLst>
            <pc:docMk/>
            <pc:sldMk cId="465715272" sldId="420"/>
            <ac:spMk id="51" creationId="{EB0EDD11-3D2F-F08D-5864-ECE594379BDF}"/>
          </ac:spMkLst>
        </pc:spChg>
        <pc:spChg chg="add mod">
          <ac:chgData name="Koen Verbeeck" userId="24d0e79a7fd977da" providerId="LiveId" clId="{BA5CD2F8-66DA-43DE-8187-1C492E55A66A}" dt="2023-10-13T19:04:18.760" v="549"/>
          <ac:spMkLst>
            <pc:docMk/>
            <pc:sldMk cId="465715272" sldId="420"/>
            <ac:spMk id="52" creationId="{ADA9CDD7-AF1A-C072-9D5F-CE69631E8408}"/>
          </ac:spMkLst>
        </pc:spChg>
        <pc:spChg chg="add mod">
          <ac:chgData name="Koen Verbeeck" userId="24d0e79a7fd977da" providerId="LiveId" clId="{BA5CD2F8-66DA-43DE-8187-1C492E55A66A}" dt="2023-10-13T19:04:18.760" v="549"/>
          <ac:spMkLst>
            <pc:docMk/>
            <pc:sldMk cId="465715272" sldId="420"/>
            <ac:spMk id="53" creationId="{FC3F7B16-940A-ABC1-0DC9-D89A13D5AAFC}"/>
          </ac:spMkLst>
        </pc:spChg>
        <pc:spChg chg="add mod">
          <ac:chgData name="Koen Verbeeck" userId="24d0e79a7fd977da" providerId="LiveId" clId="{BA5CD2F8-66DA-43DE-8187-1C492E55A66A}" dt="2023-10-13T19:04:18.760" v="549"/>
          <ac:spMkLst>
            <pc:docMk/>
            <pc:sldMk cId="465715272" sldId="420"/>
            <ac:spMk id="54" creationId="{5BACBC45-FAA3-AFE4-6949-0E1EE73C2FAC}"/>
          </ac:spMkLst>
        </pc:spChg>
        <pc:spChg chg="add mod">
          <ac:chgData name="Koen Verbeeck" userId="24d0e79a7fd977da" providerId="LiveId" clId="{BA5CD2F8-66DA-43DE-8187-1C492E55A66A}" dt="2023-10-13T19:04:18.760" v="549"/>
          <ac:spMkLst>
            <pc:docMk/>
            <pc:sldMk cId="465715272" sldId="420"/>
            <ac:spMk id="55" creationId="{8FB3D77A-BA53-D37E-F5A3-7F2E40FE0363}"/>
          </ac:spMkLst>
        </pc:spChg>
        <pc:spChg chg="add mod">
          <ac:chgData name="Koen Verbeeck" userId="24d0e79a7fd977da" providerId="LiveId" clId="{BA5CD2F8-66DA-43DE-8187-1C492E55A66A}" dt="2023-10-13T19:04:18.760" v="549"/>
          <ac:spMkLst>
            <pc:docMk/>
            <pc:sldMk cId="465715272" sldId="420"/>
            <ac:spMk id="56" creationId="{96F5E523-F1FE-4C9E-7794-1A499C927E61}"/>
          </ac:spMkLst>
        </pc:spChg>
        <pc:grpChg chg="add mod">
          <ac:chgData name="Koen Verbeeck" userId="24d0e79a7fd977da" providerId="LiveId" clId="{BA5CD2F8-66DA-43DE-8187-1C492E55A66A}" dt="2023-10-13T19:04:18.760" v="549"/>
          <ac:grpSpMkLst>
            <pc:docMk/>
            <pc:sldMk cId="465715272" sldId="420"/>
            <ac:grpSpMk id="10" creationId="{BA05B11A-79AA-D79D-DCBC-BAE8659B0D22}"/>
          </ac:grpSpMkLst>
        </pc:grpChg>
        <pc:grpChg chg="add mod">
          <ac:chgData name="Koen Verbeeck" userId="24d0e79a7fd977da" providerId="LiveId" clId="{BA5CD2F8-66DA-43DE-8187-1C492E55A66A}" dt="2023-10-13T19:04:18.760" v="549"/>
          <ac:grpSpMkLst>
            <pc:docMk/>
            <pc:sldMk cId="465715272" sldId="420"/>
            <ac:grpSpMk id="21" creationId="{728EA49E-FA30-B02B-1390-F35AA8683215}"/>
          </ac:grpSpMkLst>
        </pc:grpChg>
        <pc:grpChg chg="mod">
          <ac:chgData name="Koen Verbeeck" userId="24d0e79a7fd977da" providerId="LiveId" clId="{BA5CD2F8-66DA-43DE-8187-1C492E55A66A}" dt="2023-10-13T19:04:18.760" v="549"/>
          <ac:grpSpMkLst>
            <pc:docMk/>
            <pc:sldMk cId="465715272" sldId="420"/>
            <ac:grpSpMk id="22" creationId="{7093A5DA-246B-D249-6B94-F66DF1539C3B}"/>
          </ac:grpSpMkLst>
        </pc:grpChg>
        <pc:grpChg chg="add mod">
          <ac:chgData name="Koen Verbeeck" userId="24d0e79a7fd977da" providerId="LiveId" clId="{BA5CD2F8-66DA-43DE-8187-1C492E55A66A}" dt="2023-10-13T19:04:18.760" v="549"/>
          <ac:grpSpMkLst>
            <pc:docMk/>
            <pc:sldMk cId="465715272" sldId="420"/>
            <ac:grpSpMk id="28" creationId="{4B89B345-D6CE-40CA-CE0C-809EB61B8C10}"/>
          </ac:grpSpMkLst>
        </pc:grpChg>
        <pc:grpChg chg="mod">
          <ac:chgData name="Koen Verbeeck" userId="24d0e79a7fd977da" providerId="LiveId" clId="{BA5CD2F8-66DA-43DE-8187-1C492E55A66A}" dt="2023-10-13T19:04:18.760" v="549"/>
          <ac:grpSpMkLst>
            <pc:docMk/>
            <pc:sldMk cId="465715272" sldId="420"/>
            <ac:grpSpMk id="29" creationId="{4B068E6D-C8C8-5807-227E-7E413EAD7F1F}"/>
          </ac:grpSpMkLst>
        </pc:grpChg>
        <pc:grpChg chg="add mod">
          <ac:chgData name="Koen Verbeeck" userId="24d0e79a7fd977da" providerId="LiveId" clId="{BA5CD2F8-66DA-43DE-8187-1C492E55A66A}" dt="2023-10-13T19:04:18.760" v="549"/>
          <ac:grpSpMkLst>
            <pc:docMk/>
            <pc:sldMk cId="465715272" sldId="420"/>
            <ac:grpSpMk id="34" creationId="{B512A238-2488-E2B1-C137-DB858BE0BF11}"/>
          </ac:grpSpMkLst>
        </pc:grpChg>
        <pc:grpChg chg="mod">
          <ac:chgData name="Koen Verbeeck" userId="24d0e79a7fd977da" providerId="LiveId" clId="{BA5CD2F8-66DA-43DE-8187-1C492E55A66A}" dt="2023-10-13T19:04:18.760" v="549"/>
          <ac:grpSpMkLst>
            <pc:docMk/>
            <pc:sldMk cId="465715272" sldId="420"/>
            <ac:grpSpMk id="35" creationId="{EFB2A915-A345-6DFA-B824-5A8652782519}"/>
          </ac:grpSpMkLst>
        </pc:grpChg>
        <pc:grpChg chg="add mod">
          <ac:chgData name="Koen Verbeeck" userId="24d0e79a7fd977da" providerId="LiveId" clId="{BA5CD2F8-66DA-43DE-8187-1C492E55A66A}" dt="2023-10-13T19:04:18.760" v="549"/>
          <ac:grpSpMkLst>
            <pc:docMk/>
            <pc:sldMk cId="465715272" sldId="420"/>
            <ac:grpSpMk id="40" creationId="{1935C49B-903A-9492-98BC-9D215E8CAF01}"/>
          </ac:grpSpMkLst>
        </pc:grpChg>
        <pc:cxnChg chg="mod">
          <ac:chgData name="Koen Verbeeck" userId="24d0e79a7fd977da" providerId="LiveId" clId="{BA5CD2F8-66DA-43DE-8187-1C492E55A66A}" dt="2023-10-13T19:04:18.760" v="549"/>
          <ac:cxnSpMkLst>
            <pc:docMk/>
            <pc:sldMk cId="465715272" sldId="420"/>
            <ac:cxnSpMk id="12" creationId="{EEEF330B-BB09-901F-2293-C2FC65FFED21}"/>
          </ac:cxnSpMkLst>
        </pc:cxnChg>
        <pc:cxnChg chg="mod">
          <ac:chgData name="Koen Verbeeck" userId="24d0e79a7fd977da" providerId="LiveId" clId="{BA5CD2F8-66DA-43DE-8187-1C492E55A66A}" dt="2023-10-13T19:04:18.760" v="549"/>
          <ac:cxnSpMkLst>
            <pc:docMk/>
            <pc:sldMk cId="465715272" sldId="420"/>
            <ac:cxnSpMk id="13" creationId="{7308B3B8-0902-FCE2-8257-C4168B494025}"/>
          </ac:cxnSpMkLst>
        </pc:cxnChg>
        <pc:cxnChg chg="mod">
          <ac:chgData name="Koen Verbeeck" userId="24d0e79a7fd977da" providerId="LiveId" clId="{BA5CD2F8-66DA-43DE-8187-1C492E55A66A}" dt="2023-10-13T19:04:18.760" v="549"/>
          <ac:cxnSpMkLst>
            <pc:docMk/>
            <pc:sldMk cId="465715272" sldId="420"/>
            <ac:cxnSpMk id="14" creationId="{F6D095C0-7A80-C5CF-5E14-4D5539AE9A06}"/>
          </ac:cxnSpMkLst>
        </pc:cxnChg>
        <pc:cxnChg chg="mod">
          <ac:chgData name="Koen Verbeeck" userId="24d0e79a7fd977da" providerId="LiveId" clId="{BA5CD2F8-66DA-43DE-8187-1C492E55A66A}" dt="2023-10-13T19:04:18.760" v="549"/>
          <ac:cxnSpMkLst>
            <pc:docMk/>
            <pc:sldMk cId="465715272" sldId="420"/>
            <ac:cxnSpMk id="15" creationId="{372D0613-F7A9-2A5B-9B88-772E1723C274}"/>
          </ac:cxnSpMkLst>
        </pc:cxnChg>
        <pc:cxnChg chg="mod">
          <ac:chgData name="Koen Verbeeck" userId="24d0e79a7fd977da" providerId="LiveId" clId="{BA5CD2F8-66DA-43DE-8187-1C492E55A66A}" dt="2023-10-13T19:04:18.760" v="549"/>
          <ac:cxnSpMkLst>
            <pc:docMk/>
            <pc:sldMk cId="465715272" sldId="420"/>
            <ac:cxnSpMk id="16" creationId="{B4DF2B91-3FBF-50E7-147B-B831815393EA}"/>
          </ac:cxnSpMkLst>
        </pc:cxnChg>
        <pc:cxnChg chg="mod">
          <ac:chgData name="Koen Verbeeck" userId="24d0e79a7fd977da" providerId="LiveId" clId="{BA5CD2F8-66DA-43DE-8187-1C492E55A66A}" dt="2023-10-13T19:04:18.760" v="549"/>
          <ac:cxnSpMkLst>
            <pc:docMk/>
            <pc:sldMk cId="465715272" sldId="420"/>
            <ac:cxnSpMk id="23" creationId="{4F1FA949-BD1D-2D5C-5C94-F3E192012642}"/>
          </ac:cxnSpMkLst>
        </pc:cxnChg>
        <pc:cxnChg chg="mod">
          <ac:chgData name="Koen Verbeeck" userId="24d0e79a7fd977da" providerId="LiveId" clId="{BA5CD2F8-66DA-43DE-8187-1C492E55A66A}" dt="2023-10-13T19:04:18.760" v="549"/>
          <ac:cxnSpMkLst>
            <pc:docMk/>
            <pc:sldMk cId="465715272" sldId="420"/>
            <ac:cxnSpMk id="24" creationId="{8E4D12C5-A03B-44CB-FE24-77F60FCCD1D5}"/>
          </ac:cxnSpMkLst>
        </pc:cxnChg>
        <pc:cxnChg chg="mod">
          <ac:chgData name="Koen Verbeeck" userId="24d0e79a7fd977da" providerId="LiveId" clId="{BA5CD2F8-66DA-43DE-8187-1C492E55A66A}" dt="2023-10-13T19:04:18.760" v="549"/>
          <ac:cxnSpMkLst>
            <pc:docMk/>
            <pc:sldMk cId="465715272" sldId="420"/>
            <ac:cxnSpMk id="27" creationId="{78109AB0-58DF-EBBC-F65D-FD2649AEDE7B}"/>
          </ac:cxnSpMkLst>
        </pc:cxnChg>
        <pc:cxnChg chg="mod">
          <ac:chgData name="Koen Verbeeck" userId="24d0e79a7fd977da" providerId="LiveId" clId="{BA5CD2F8-66DA-43DE-8187-1C492E55A66A}" dt="2023-10-13T19:04:18.760" v="549"/>
          <ac:cxnSpMkLst>
            <pc:docMk/>
            <pc:sldMk cId="465715272" sldId="420"/>
            <ac:cxnSpMk id="30" creationId="{F7A199C4-793D-8350-197C-E48D7AB108F5}"/>
          </ac:cxnSpMkLst>
        </pc:cxnChg>
        <pc:cxnChg chg="mod">
          <ac:chgData name="Koen Verbeeck" userId="24d0e79a7fd977da" providerId="LiveId" clId="{BA5CD2F8-66DA-43DE-8187-1C492E55A66A}" dt="2023-10-13T19:04:18.760" v="549"/>
          <ac:cxnSpMkLst>
            <pc:docMk/>
            <pc:sldMk cId="465715272" sldId="420"/>
            <ac:cxnSpMk id="33" creationId="{4FB14643-95E6-7B48-AE27-B01195B51A28}"/>
          </ac:cxnSpMkLst>
        </pc:cxnChg>
        <pc:cxnChg chg="mod">
          <ac:chgData name="Koen Verbeeck" userId="24d0e79a7fd977da" providerId="LiveId" clId="{BA5CD2F8-66DA-43DE-8187-1C492E55A66A}" dt="2023-10-13T19:04:18.760" v="549"/>
          <ac:cxnSpMkLst>
            <pc:docMk/>
            <pc:sldMk cId="465715272" sldId="420"/>
            <ac:cxnSpMk id="36" creationId="{D97B0D5B-AAFC-E4F0-B90A-333C5129606E}"/>
          </ac:cxnSpMkLst>
        </pc:cxnChg>
        <pc:cxnChg chg="mod">
          <ac:chgData name="Koen Verbeeck" userId="24d0e79a7fd977da" providerId="LiveId" clId="{BA5CD2F8-66DA-43DE-8187-1C492E55A66A}" dt="2023-10-13T19:04:18.760" v="549"/>
          <ac:cxnSpMkLst>
            <pc:docMk/>
            <pc:sldMk cId="465715272" sldId="420"/>
            <ac:cxnSpMk id="39" creationId="{BA7E42A4-6F5B-5373-1B51-C3F68335CEE0}"/>
          </ac:cxnSpMkLst>
        </pc:cxnChg>
        <pc:cxnChg chg="mod">
          <ac:chgData name="Koen Verbeeck" userId="24d0e79a7fd977da" providerId="LiveId" clId="{BA5CD2F8-66DA-43DE-8187-1C492E55A66A}" dt="2023-10-13T19:04:18.760" v="549"/>
          <ac:cxnSpMkLst>
            <pc:docMk/>
            <pc:sldMk cId="465715272" sldId="420"/>
            <ac:cxnSpMk id="41" creationId="{E91C111F-F018-598D-DF56-17FD44BABC1B}"/>
          </ac:cxnSpMkLst>
        </pc:cxnChg>
        <pc:cxnChg chg="mod">
          <ac:chgData name="Koen Verbeeck" userId="24d0e79a7fd977da" providerId="LiveId" clId="{BA5CD2F8-66DA-43DE-8187-1C492E55A66A}" dt="2023-10-13T19:04:18.760" v="549"/>
          <ac:cxnSpMkLst>
            <pc:docMk/>
            <pc:sldMk cId="465715272" sldId="420"/>
            <ac:cxnSpMk id="42" creationId="{30CC35D1-F297-990E-4231-DC4AB169FB5F}"/>
          </ac:cxnSpMkLst>
        </pc:cxnChg>
      </pc:sldChg>
      <pc:sldChg chg="addSp delSp modSp new mod">
        <pc:chgData name="Koen Verbeeck" userId="24d0e79a7fd977da" providerId="LiveId" clId="{BA5CD2F8-66DA-43DE-8187-1C492E55A66A}" dt="2023-10-13T19:05:30.171" v="552"/>
        <pc:sldMkLst>
          <pc:docMk/>
          <pc:sldMk cId="4044134213" sldId="421"/>
        </pc:sldMkLst>
        <pc:spChg chg="del">
          <ac:chgData name="Koen Verbeeck" userId="24d0e79a7fd977da" providerId="LiveId" clId="{BA5CD2F8-66DA-43DE-8187-1C492E55A66A}" dt="2023-10-13T19:05:29.180" v="551" actId="478"/>
          <ac:spMkLst>
            <pc:docMk/>
            <pc:sldMk cId="4044134213" sldId="421"/>
            <ac:spMk id="2" creationId="{4868A02D-9F65-A653-C2AA-D81DD441D7D6}"/>
          </ac:spMkLst>
        </pc:spChg>
        <pc:spChg chg="del">
          <ac:chgData name="Koen Verbeeck" userId="24d0e79a7fd977da" providerId="LiveId" clId="{BA5CD2F8-66DA-43DE-8187-1C492E55A66A}" dt="2023-10-13T19:05:29.180" v="551" actId="478"/>
          <ac:spMkLst>
            <pc:docMk/>
            <pc:sldMk cId="4044134213" sldId="421"/>
            <ac:spMk id="3" creationId="{A40B8E84-8525-6533-93F6-7AC96005B11B}"/>
          </ac:spMkLst>
        </pc:spChg>
        <pc:spChg chg="add mod">
          <ac:chgData name="Koen Verbeeck" userId="24d0e79a7fd977da" providerId="LiveId" clId="{BA5CD2F8-66DA-43DE-8187-1C492E55A66A}" dt="2023-10-13T19:05:30.171" v="552"/>
          <ac:spMkLst>
            <pc:docMk/>
            <pc:sldMk cId="4044134213" sldId="421"/>
            <ac:spMk id="4" creationId="{FCCC1A85-15E7-C033-0E69-918B908084BA}"/>
          </ac:spMkLst>
        </pc:spChg>
        <pc:spChg chg="add mod">
          <ac:chgData name="Koen Verbeeck" userId="24d0e79a7fd977da" providerId="LiveId" clId="{BA5CD2F8-66DA-43DE-8187-1C492E55A66A}" dt="2023-10-13T19:05:30.171" v="552"/>
          <ac:spMkLst>
            <pc:docMk/>
            <pc:sldMk cId="4044134213" sldId="421"/>
            <ac:spMk id="5" creationId="{358F69F9-0050-BC2F-B994-B8BA12FDCD2A}"/>
          </ac:spMkLst>
        </pc:spChg>
        <pc:spChg chg="add mod">
          <ac:chgData name="Koen Verbeeck" userId="24d0e79a7fd977da" providerId="LiveId" clId="{BA5CD2F8-66DA-43DE-8187-1C492E55A66A}" dt="2023-10-13T19:05:30.171" v="552"/>
          <ac:spMkLst>
            <pc:docMk/>
            <pc:sldMk cId="4044134213" sldId="421"/>
            <ac:spMk id="6" creationId="{15BC9FC2-82BE-9F2D-FAD9-6C9F2784ECC4}"/>
          </ac:spMkLst>
        </pc:spChg>
        <pc:spChg chg="add mod">
          <ac:chgData name="Koen Verbeeck" userId="24d0e79a7fd977da" providerId="LiveId" clId="{BA5CD2F8-66DA-43DE-8187-1C492E55A66A}" dt="2023-10-13T19:05:30.171" v="552"/>
          <ac:spMkLst>
            <pc:docMk/>
            <pc:sldMk cId="4044134213" sldId="421"/>
            <ac:spMk id="7" creationId="{8497326A-80BF-3BD4-2090-C31A12869838}"/>
          </ac:spMkLst>
        </pc:spChg>
        <pc:spChg chg="add mod">
          <ac:chgData name="Koen Verbeeck" userId="24d0e79a7fd977da" providerId="LiveId" clId="{BA5CD2F8-66DA-43DE-8187-1C492E55A66A}" dt="2023-10-13T19:05:30.171" v="552"/>
          <ac:spMkLst>
            <pc:docMk/>
            <pc:sldMk cId="4044134213" sldId="421"/>
            <ac:spMk id="8" creationId="{11985971-3324-D559-D77A-619A72B0D57C}"/>
          </ac:spMkLst>
        </pc:spChg>
        <pc:spChg chg="add mod">
          <ac:chgData name="Koen Verbeeck" userId="24d0e79a7fd977da" providerId="LiveId" clId="{BA5CD2F8-66DA-43DE-8187-1C492E55A66A}" dt="2023-10-13T19:05:30.171" v="552"/>
          <ac:spMkLst>
            <pc:docMk/>
            <pc:sldMk cId="4044134213" sldId="421"/>
            <ac:spMk id="9" creationId="{0ACB7635-0006-7C48-8ECA-19DE0190FCB3}"/>
          </ac:spMkLst>
        </pc:spChg>
        <pc:spChg chg="mod">
          <ac:chgData name="Koen Verbeeck" userId="24d0e79a7fd977da" providerId="LiveId" clId="{BA5CD2F8-66DA-43DE-8187-1C492E55A66A}" dt="2023-10-13T19:05:30.171" v="552"/>
          <ac:spMkLst>
            <pc:docMk/>
            <pc:sldMk cId="4044134213" sldId="421"/>
            <ac:spMk id="11" creationId="{17904871-0F06-A7BD-3259-269230A80078}"/>
          </ac:spMkLst>
        </pc:spChg>
        <pc:spChg chg="add mod">
          <ac:chgData name="Koen Verbeeck" userId="24d0e79a7fd977da" providerId="LiveId" clId="{BA5CD2F8-66DA-43DE-8187-1C492E55A66A}" dt="2023-10-13T19:05:30.171" v="552"/>
          <ac:spMkLst>
            <pc:docMk/>
            <pc:sldMk cId="4044134213" sldId="421"/>
            <ac:spMk id="17" creationId="{B54E3B13-463A-978F-6A83-676EF46288FA}"/>
          </ac:spMkLst>
        </pc:spChg>
        <pc:spChg chg="add mod">
          <ac:chgData name="Koen Verbeeck" userId="24d0e79a7fd977da" providerId="LiveId" clId="{BA5CD2F8-66DA-43DE-8187-1C492E55A66A}" dt="2023-10-13T19:05:30.171" v="552"/>
          <ac:spMkLst>
            <pc:docMk/>
            <pc:sldMk cId="4044134213" sldId="421"/>
            <ac:spMk id="18" creationId="{2DE5E7FA-5FAF-F9EC-64CD-85C8F2519C01}"/>
          </ac:spMkLst>
        </pc:spChg>
        <pc:spChg chg="add mod">
          <ac:chgData name="Koen Verbeeck" userId="24d0e79a7fd977da" providerId="LiveId" clId="{BA5CD2F8-66DA-43DE-8187-1C492E55A66A}" dt="2023-10-13T19:05:30.171" v="552"/>
          <ac:spMkLst>
            <pc:docMk/>
            <pc:sldMk cId="4044134213" sldId="421"/>
            <ac:spMk id="19" creationId="{BF26F55D-98D7-9FB9-6499-A6D17961F9C6}"/>
          </ac:spMkLst>
        </pc:spChg>
        <pc:spChg chg="add mod">
          <ac:chgData name="Koen Verbeeck" userId="24d0e79a7fd977da" providerId="LiveId" clId="{BA5CD2F8-66DA-43DE-8187-1C492E55A66A}" dt="2023-10-13T19:05:30.171" v="552"/>
          <ac:spMkLst>
            <pc:docMk/>
            <pc:sldMk cId="4044134213" sldId="421"/>
            <ac:spMk id="20" creationId="{5E2833F9-234A-FF9D-E627-FD0723AA0718}"/>
          </ac:spMkLst>
        </pc:spChg>
        <pc:spChg chg="add mod">
          <ac:chgData name="Koen Verbeeck" userId="24d0e79a7fd977da" providerId="LiveId" clId="{BA5CD2F8-66DA-43DE-8187-1C492E55A66A}" dt="2023-10-13T19:05:30.171" v="552"/>
          <ac:spMkLst>
            <pc:docMk/>
            <pc:sldMk cId="4044134213" sldId="421"/>
            <ac:spMk id="21" creationId="{0C3F56BA-7A32-F645-95FF-C8BFC108AD17}"/>
          </ac:spMkLst>
        </pc:spChg>
        <pc:spChg chg="add mod">
          <ac:chgData name="Koen Verbeeck" userId="24d0e79a7fd977da" providerId="LiveId" clId="{BA5CD2F8-66DA-43DE-8187-1C492E55A66A}" dt="2023-10-13T19:05:30.171" v="552"/>
          <ac:spMkLst>
            <pc:docMk/>
            <pc:sldMk cId="4044134213" sldId="421"/>
            <ac:spMk id="22" creationId="{9AB2E137-044A-54FA-E719-05C67895572B}"/>
          </ac:spMkLst>
        </pc:spChg>
        <pc:spChg chg="add mod">
          <ac:chgData name="Koen Verbeeck" userId="24d0e79a7fd977da" providerId="LiveId" clId="{BA5CD2F8-66DA-43DE-8187-1C492E55A66A}" dt="2023-10-13T19:05:30.171" v="552"/>
          <ac:spMkLst>
            <pc:docMk/>
            <pc:sldMk cId="4044134213" sldId="421"/>
            <ac:spMk id="23" creationId="{A167A1AB-CB05-EE1F-964D-E1A78F45D311}"/>
          </ac:spMkLst>
        </pc:spChg>
        <pc:spChg chg="add mod">
          <ac:chgData name="Koen Verbeeck" userId="24d0e79a7fd977da" providerId="LiveId" clId="{BA5CD2F8-66DA-43DE-8187-1C492E55A66A}" dt="2023-10-13T19:05:30.171" v="552"/>
          <ac:spMkLst>
            <pc:docMk/>
            <pc:sldMk cId="4044134213" sldId="421"/>
            <ac:spMk id="24" creationId="{09246992-84F7-30FF-B7FA-A0C90CB86558}"/>
          </ac:spMkLst>
        </pc:spChg>
        <pc:spChg chg="add mod">
          <ac:chgData name="Koen Verbeeck" userId="24d0e79a7fd977da" providerId="LiveId" clId="{BA5CD2F8-66DA-43DE-8187-1C492E55A66A}" dt="2023-10-13T19:05:30.171" v="552"/>
          <ac:spMkLst>
            <pc:docMk/>
            <pc:sldMk cId="4044134213" sldId="421"/>
            <ac:spMk id="25" creationId="{75819E4F-F4D6-07DF-A8C5-D197F5A67588}"/>
          </ac:spMkLst>
        </pc:spChg>
        <pc:spChg chg="add mod">
          <ac:chgData name="Koen Verbeeck" userId="24d0e79a7fd977da" providerId="LiveId" clId="{BA5CD2F8-66DA-43DE-8187-1C492E55A66A}" dt="2023-10-13T19:05:30.171" v="552"/>
          <ac:spMkLst>
            <pc:docMk/>
            <pc:sldMk cId="4044134213" sldId="421"/>
            <ac:spMk id="26" creationId="{CF0346D8-25E3-FAF3-7B56-904E605D72A4}"/>
          </ac:spMkLst>
        </pc:spChg>
        <pc:spChg chg="add mod">
          <ac:chgData name="Koen Verbeeck" userId="24d0e79a7fd977da" providerId="LiveId" clId="{BA5CD2F8-66DA-43DE-8187-1C492E55A66A}" dt="2023-10-13T19:05:30.171" v="552"/>
          <ac:spMkLst>
            <pc:docMk/>
            <pc:sldMk cId="4044134213" sldId="421"/>
            <ac:spMk id="27" creationId="{CAA8F560-7378-9DFC-1A6D-B878E70E49F4}"/>
          </ac:spMkLst>
        </pc:spChg>
        <pc:spChg chg="add mod">
          <ac:chgData name="Koen Verbeeck" userId="24d0e79a7fd977da" providerId="LiveId" clId="{BA5CD2F8-66DA-43DE-8187-1C492E55A66A}" dt="2023-10-13T19:05:30.171" v="552"/>
          <ac:spMkLst>
            <pc:docMk/>
            <pc:sldMk cId="4044134213" sldId="421"/>
            <ac:spMk id="28" creationId="{C6BE29F1-A387-1924-2124-C45F13DAB51A}"/>
          </ac:spMkLst>
        </pc:spChg>
        <pc:spChg chg="add mod">
          <ac:chgData name="Koen Verbeeck" userId="24d0e79a7fd977da" providerId="LiveId" clId="{BA5CD2F8-66DA-43DE-8187-1C492E55A66A}" dt="2023-10-13T19:05:30.171" v="552"/>
          <ac:spMkLst>
            <pc:docMk/>
            <pc:sldMk cId="4044134213" sldId="421"/>
            <ac:spMk id="29" creationId="{C71FFA88-4012-0298-3E89-0708BF22385A}"/>
          </ac:spMkLst>
        </pc:spChg>
        <pc:spChg chg="add mod">
          <ac:chgData name="Koen Verbeeck" userId="24d0e79a7fd977da" providerId="LiveId" clId="{BA5CD2F8-66DA-43DE-8187-1C492E55A66A}" dt="2023-10-13T19:05:30.171" v="552"/>
          <ac:spMkLst>
            <pc:docMk/>
            <pc:sldMk cId="4044134213" sldId="421"/>
            <ac:spMk id="30" creationId="{55362606-E39A-214E-4B78-3BA5AEF52A1F}"/>
          </ac:spMkLst>
        </pc:spChg>
        <pc:spChg chg="add mod">
          <ac:chgData name="Koen Verbeeck" userId="24d0e79a7fd977da" providerId="LiveId" clId="{BA5CD2F8-66DA-43DE-8187-1C492E55A66A}" dt="2023-10-13T19:05:30.171" v="552"/>
          <ac:spMkLst>
            <pc:docMk/>
            <pc:sldMk cId="4044134213" sldId="421"/>
            <ac:spMk id="31" creationId="{1761C44F-6AF4-8FB0-48B9-978B4D0F1B94}"/>
          </ac:spMkLst>
        </pc:spChg>
        <pc:spChg chg="add mod">
          <ac:chgData name="Koen Verbeeck" userId="24d0e79a7fd977da" providerId="LiveId" clId="{BA5CD2F8-66DA-43DE-8187-1C492E55A66A}" dt="2023-10-13T19:05:30.171" v="552"/>
          <ac:spMkLst>
            <pc:docMk/>
            <pc:sldMk cId="4044134213" sldId="421"/>
            <ac:spMk id="32" creationId="{326BAC89-A50B-F8E3-AF7E-D6A90BBFA760}"/>
          </ac:spMkLst>
        </pc:spChg>
        <pc:spChg chg="add mod">
          <ac:chgData name="Koen Verbeeck" userId="24d0e79a7fd977da" providerId="LiveId" clId="{BA5CD2F8-66DA-43DE-8187-1C492E55A66A}" dt="2023-10-13T19:05:30.171" v="552"/>
          <ac:spMkLst>
            <pc:docMk/>
            <pc:sldMk cId="4044134213" sldId="421"/>
            <ac:spMk id="33" creationId="{E3697BD5-FA3C-827B-EA30-D4F0C0657698}"/>
          </ac:spMkLst>
        </pc:spChg>
        <pc:spChg chg="add mod">
          <ac:chgData name="Koen Verbeeck" userId="24d0e79a7fd977da" providerId="LiveId" clId="{BA5CD2F8-66DA-43DE-8187-1C492E55A66A}" dt="2023-10-13T19:05:30.171" v="552"/>
          <ac:spMkLst>
            <pc:docMk/>
            <pc:sldMk cId="4044134213" sldId="421"/>
            <ac:spMk id="34" creationId="{51D58ED5-9C01-F61F-C699-7EC38D875946}"/>
          </ac:spMkLst>
        </pc:spChg>
        <pc:spChg chg="add mod">
          <ac:chgData name="Koen Verbeeck" userId="24d0e79a7fd977da" providerId="LiveId" clId="{BA5CD2F8-66DA-43DE-8187-1C492E55A66A}" dt="2023-10-13T19:05:30.171" v="552"/>
          <ac:spMkLst>
            <pc:docMk/>
            <pc:sldMk cId="4044134213" sldId="421"/>
            <ac:spMk id="35" creationId="{43D0FE53-8C79-DB57-0A97-F8AF53DF5210}"/>
          </ac:spMkLst>
        </pc:spChg>
        <pc:grpChg chg="add mod">
          <ac:chgData name="Koen Verbeeck" userId="24d0e79a7fd977da" providerId="LiveId" clId="{BA5CD2F8-66DA-43DE-8187-1C492E55A66A}" dt="2023-10-13T19:05:30.171" v="552"/>
          <ac:grpSpMkLst>
            <pc:docMk/>
            <pc:sldMk cId="4044134213" sldId="421"/>
            <ac:grpSpMk id="10" creationId="{E87A7C91-6EA4-8242-F891-5B14522D420B}"/>
          </ac:grpSpMkLst>
        </pc:grpChg>
        <pc:cxnChg chg="mod">
          <ac:chgData name="Koen Verbeeck" userId="24d0e79a7fd977da" providerId="LiveId" clId="{BA5CD2F8-66DA-43DE-8187-1C492E55A66A}" dt="2023-10-13T19:05:30.171" v="552"/>
          <ac:cxnSpMkLst>
            <pc:docMk/>
            <pc:sldMk cId="4044134213" sldId="421"/>
            <ac:cxnSpMk id="12" creationId="{98B5F3C8-3372-A06F-6A36-068A0AE2C6F8}"/>
          </ac:cxnSpMkLst>
        </pc:cxnChg>
        <pc:cxnChg chg="mod">
          <ac:chgData name="Koen Verbeeck" userId="24d0e79a7fd977da" providerId="LiveId" clId="{BA5CD2F8-66DA-43DE-8187-1C492E55A66A}" dt="2023-10-13T19:05:30.171" v="552"/>
          <ac:cxnSpMkLst>
            <pc:docMk/>
            <pc:sldMk cId="4044134213" sldId="421"/>
            <ac:cxnSpMk id="13" creationId="{03C4AE09-9700-37EB-E8D2-AD59F2A39E41}"/>
          </ac:cxnSpMkLst>
        </pc:cxnChg>
        <pc:cxnChg chg="mod">
          <ac:chgData name="Koen Verbeeck" userId="24d0e79a7fd977da" providerId="LiveId" clId="{BA5CD2F8-66DA-43DE-8187-1C492E55A66A}" dt="2023-10-13T19:05:30.171" v="552"/>
          <ac:cxnSpMkLst>
            <pc:docMk/>
            <pc:sldMk cId="4044134213" sldId="421"/>
            <ac:cxnSpMk id="14" creationId="{D2EEF36F-66E8-4080-B520-B68A36663D40}"/>
          </ac:cxnSpMkLst>
        </pc:cxnChg>
        <pc:cxnChg chg="mod">
          <ac:chgData name="Koen Verbeeck" userId="24d0e79a7fd977da" providerId="LiveId" clId="{BA5CD2F8-66DA-43DE-8187-1C492E55A66A}" dt="2023-10-13T19:05:30.171" v="552"/>
          <ac:cxnSpMkLst>
            <pc:docMk/>
            <pc:sldMk cId="4044134213" sldId="421"/>
            <ac:cxnSpMk id="15" creationId="{0243ECA2-0198-E662-5772-8236F87800BF}"/>
          </ac:cxnSpMkLst>
        </pc:cxnChg>
        <pc:cxnChg chg="mod">
          <ac:chgData name="Koen Verbeeck" userId="24d0e79a7fd977da" providerId="LiveId" clId="{BA5CD2F8-66DA-43DE-8187-1C492E55A66A}" dt="2023-10-13T19:05:30.171" v="552"/>
          <ac:cxnSpMkLst>
            <pc:docMk/>
            <pc:sldMk cId="4044134213" sldId="421"/>
            <ac:cxnSpMk id="16" creationId="{1384055B-D070-EE0B-5236-8138FC5C09BB}"/>
          </ac:cxnSpMkLst>
        </pc:cxnChg>
      </pc:sldChg>
      <pc:sldChg chg="addSp delSp modSp new mod modAnim">
        <pc:chgData name="Koen Verbeeck" userId="24d0e79a7fd977da" providerId="LiveId" clId="{BA5CD2F8-66DA-43DE-8187-1C492E55A66A}" dt="2023-10-13T19:06:27.805" v="555"/>
        <pc:sldMkLst>
          <pc:docMk/>
          <pc:sldMk cId="3429298847" sldId="422"/>
        </pc:sldMkLst>
        <pc:spChg chg="del">
          <ac:chgData name="Koen Verbeeck" userId="24d0e79a7fd977da" providerId="LiveId" clId="{BA5CD2F8-66DA-43DE-8187-1C492E55A66A}" dt="2023-10-13T19:06:27.299" v="554" actId="478"/>
          <ac:spMkLst>
            <pc:docMk/>
            <pc:sldMk cId="3429298847" sldId="422"/>
            <ac:spMk id="2" creationId="{AF946033-FB67-6FD8-13F7-8062CED6D2CA}"/>
          </ac:spMkLst>
        </pc:spChg>
        <pc:spChg chg="del">
          <ac:chgData name="Koen Verbeeck" userId="24d0e79a7fd977da" providerId="LiveId" clId="{BA5CD2F8-66DA-43DE-8187-1C492E55A66A}" dt="2023-10-13T19:06:27.299" v="554" actId="478"/>
          <ac:spMkLst>
            <pc:docMk/>
            <pc:sldMk cId="3429298847" sldId="422"/>
            <ac:spMk id="3" creationId="{673ADB0C-89B6-3FBC-2FB5-057055C3BEFD}"/>
          </ac:spMkLst>
        </pc:spChg>
        <pc:spChg chg="add mod">
          <ac:chgData name="Koen Verbeeck" userId="24d0e79a7fd977da" providerId="LiveId" clId="{BA5CD2F8-66DA-43DE-8187-1C492E55A66A}" dt="2023-10-13T19:06:27.805" v="555"/>
          <ac:spMkLst>
            <pc:docMk/>
            <pc:sldMk cId="3429298847" sldId="422"/>
            <ac:spMk id="4" creationId="{241A5E93-9B5F-DF13-AE90-30B49633A5C7}"/>
          </ac:spMkLst>
        </pc:spChg>
        <pc:spChg chg="add mod">
          <ac:chgData name="Koen Verbeeck" userId="24d0e79a7fd977da" providerId="LiveId" clId="{BA5CD2F8-66DA-43DE-8187-1C492E55A66A}" dt="2023-10-13T19:06:27.805" v="555"/>
          <ac:spMkLst>
            <pc:docMk/>
            <pc:sldMk cId="3429298847" sldId="422"/>
            <ac:spMk id="5" creationId="{0AF4D2F8-3FE4-2B96-9E7B-B93FC372F0FF}"/>
          </ac:spMkLst>
        </pc:spChg>
        <pc:spChg chg="add mod">
          <ac:chgData name="Koen Verbeeck" userId="24d0e79a7fd977da" providerId="LiveId" clId="{BA5CD2F8-66DA-43DE-8187-1C492E55A66A}" dt="2023-10-13T19:06:27.805" v="555"/>
          <ac:spMkLst>
            <pc:docMk/>
            <pc:sldMk cId="3429298847" sldId="422"/>
            <ac:spMk id="6" creationId="{BC4786C0-7A2C-A456-097F-0E4778E472D4}"/>
          </ac:spMkLst>
        </pc:spChg>
        <pc:spChg chg="add mod">
          <ac:chgData name="Koen Verbeeck" userId="24d0e79a7fd977da" providerId="LiveId" clId="{BA5CD2F8-66DA-43DE-8187-1C492E55A66A}" dt="2023-10-13T19:06:27.805" v="555"/>
          <ac:spMkLst>
            <pc:docMk/>
            <pc:sldMk cId="3429298847" sldId="422"/>
            <ac:spMk id="7" creationId="{B4DFA692-B8F5-DD4B-B1F1-65F12B71CF79}"/>
          </ac:spMkLst>
        </pc:spChg>
        <pc:spChg chg="add mod">
          <ac:chgData name="Koen Verbeeck" userId="24d0e79a7fd977da" providerId="LiveId" clId="{BA5CD2F8-66DA-43DE-8187-1C492E55A66A}" dt="2023-10-13T19:06:27.805" v="555"/>
          <ac:spMkLst>
            <pc:docMk/>
            <pc:sldMk cId="3429298847" sldId="422"/>
            <ac:spMk id="8" creationId="{CFE3D7EC-07FD-89F2-2C6D-1FB0B89F2348}"/>
          </ac:spMkLst>
        </pc:spChg>
        <pc:spChg chg="add mod">
          <ac:chgData name="Koen Verbeeck" userId="24d0e79a7fd977da" providerId="LiveId" clId="{BA5CD2F8-66DA-43DE-8187-1C492E55A66A}" dt="2023-10-13T19:06:27.805" v="555"/>
          <ac:spMkLst>
            <pc:docMk/>
            <pc:sldMk cId="3429298847" sldId="422"/>
            <ac:spMk id="9" creationId="{F3F69727-FD4F-2AA5-3EDD-BD75CD0E2D71}"/>
          </ac:spMkLst>
        </pc:spChg>
        <pc:spChg chg="add mod">
          <ac:chgData name="Koen Verbeeck" userId="24d0e79a7fd977da" providerId="LiveId" clId="{BA5CD2F8-66DA-43DE-8187-1C492E55A66A}" dt="2023-10-13T19:06:27.805" v="555"/>
          <ac:spMkLst>
            <pc:docMk/>
            <pc:sldMk cId="3429298847" sldId="422"/>
            <ac:spMk id="13" creationId="{E44B1C2F-BF04-6AA2-4A85-4420C4ED9BCA}"/>
          </ac:spMkLst>
        </pc:spChg>
        <pc:spChg chg="add mod">
          <ac:chgData name="Koen Verbeeck" userId="24d0e79a7fd977da" providerId="LiveId" clId="{BA5CD2F8-66DA-43DE-8187-1C492E55A66A}" dt="2023-10-13T19:06:27.805" v="555"/>
          <ac:spMkLst>
            <pc:docMk/>
            <pc:sldMk cId="3429298847" sldId="422"/>
            <ac:spMk id="14" creationId="{2B30C4D2-B7A7-586C-1D0C-A142464CC277}"/>
          </ac:spMkLst>
        </pc:spChg>
        <pc:spChg chg="add mod">
          <ac:chgData name="Koen Verbeeck" userId="24d0e79a7fd977da" providerId="LiveId" clId="{BA5CD2F8-66DA-43DE-8187-1C492E55A66A}" dt="2023-10-13T19:06:27.805" v="555"/>
          <ac:spMkLst>
            <pc:docMk/>
            <pc:sldMk cId="3429298847" sldId="422"/>
            <ac:spMk id="15" creationId="{6E98036D-3ADA-B3FF-3327-6430CE0EA3D8}"/>
          </ac:spMkLst>
        </pc:spChg>
        <pc:spChg chg="add mod">
          <ac:chgData name="Koen Verbeeck" userId="24d0e79a7fd977da" providerId="LiveId" clId="{BA5CD2F8-66DA-43DE-8187-1C492E55A66A}" dt="2023-10-13T19:06:27.805" v="555"/>
          <ac:spMkLst>
            <pc:docMk/>
            <pc:sldMk cId="3429298847" sldId="422"/>
            <ac:spMk id="16" creationId="{41EA7C4E-E19C-1308-C99D-9060BB9AD8F2}"/>
          </ac:spMkLst>
        </pc:spChg>
        <pc:spChg chg="mod">
          <ac:chgData name="Koen Verbeeck" userId="24d0e79a7fd977da" providerId="LiveId" clId="{BA5CD2F8-66DA-43DE-8187-1C492E55A66A}" dt="2023-10-13T19:06:27.805" v="555"/>
          <ac:spMkLst>
            <pc:docMk/>
            <pc:sldMk cId="3429298847" sldId="422"/>
            <ac:spMk id="18" creationId="{A21FCF75-4BAF-CBC3-A59C-8498E155227E}"/>
          </ac:spMkLst>
        </pc:spChg>
        <pc:spChg chg="mod">
          <ac:chgData name="Koen Verbeeck" userId="24d0e79a7fd977da" providerId="LiveId" clId="{BA5CD2F8-66DA-43DE-8187-1C492E55A66A}" dt="2023-10-13T19:06:27.805" v="555"/>
          <ac:spMkLst>
            <pc:docMk/>
            <pc:sldMk cId="3429298847" sldId="422"/>
            <ac:spMk id="19" creationId="{8D52B766-AA53-4A06-4C0D-AD910082B2C9}"/>
          </ac:spMkLst>
        </pc:spChg>
        <pc:spChg chg="mod">
          <ac:chgData name="Koen Verbeeck" userId="24d0e79a7fd977da" providerId="LiveId" clId="{BA5CD2F8-66DA-43DE-8187-1C492E55A66A}" dt="2023-10-13T19:06:27.805" v="555"/>
          <ac:spMkLst>
            <pc:docMk/>
            <pc:sldMk cId="3429298847" sldId="422"/>
            <ac:spMk id="20" creationId="{D4384CA1-7A5E-027F-F3E5-23B87C648357}"/>
          </ac:spMkLst>
        </pc:spChg>
        <pc:spChg chg="mod">
          <ac:chgData name="Koen Verbeeck" userId="24d0e79a7fd977da" providerId="LiveId" clId="{BA5CD2F8-66DA-43DE-8187-1C492E55A66A}" dt="2023-10-13T19:06:27.805" v="555"/>
          <ac:spMkLst>
            <pc:docMk/>
            <pc:sldMk cId="3429298847" sldId="422"/>
            <ac:spMk id="33" creationId="{19A845AB-2015-F427-3C5A-63A9BE0AFB22}"/>
          </ac:spMkLst>
        </pc:spChg>
        <pc:spChg chg="mod">
          <ac:chgData name="Koen Verbeeck" userId="24d0e79a7fd977da" providerId="LiveId" clId="{BA5CD2F8-66DA-43DE-8187-1C492E55A66A}" dt="2023-10-13T19:06:27.805" v="555"/>
          <ac:spMkLst>
            <pc:docMk/>
            <pc:sldMk cId="3429298847" sldId="422"/>
            <ac:spMk id="35" creationId="{CF4C6FD2-16A8-27E8-B213-0DD45A0C017D}"/>
          </ac:spMkLst>
        </pc:spChg>
        <pc:spChg chg="mod">
          <ac:chgData name="Koen Verbeeck" userId="24d0e79a7fd977da" providerId="LiveId" clId="{BA5CD2F8-66DA-43DE-8187-1C492E55A66A}" dt="2023-10-13T19:06:27.805" v="555"/>
          <ac:spMkLst>
            <pc:docMk/>
            <pc:sldMk cId="3429298847" sldId="422"/>
            <ac:spMk id="36" creationId="{4568F423-F9F4-1519-A9E1-CCE5D06C9684}"/>
          </ac:spMkLst>
        </pc:spChg>
        <pc:spChg chg="add mod">
          <ac:chgData name="Koen Verbeeck" userId="24d0e79a7fd977da" providerId="LiveId" clId="{BA5CD2F8-66DA-43DE-8187-1C492E55A66A}" dt="2023-10-13T19:06:27.805" v="555"/>
          <ac:spMkLst>
            <pc:docMk/>
            <pc:sldMk cId="3429298847" sldId="422"/>
            <ac:spMk id="48" creationId="{633671E8-4E67-0035-DE30-F9D67AA1C13C}"/>
          </ac:spMkLst>
        </pc:spChg>
        <pc:spChg chg="add mod">
          <ac:chgData name="Koen Verbeeck" userId="24d0e79a7fd977da" providerId="LiveId" clId="{BA5CD2F8-66DA-43DE-8187-1C492E55A66A}" dt="2023-10-13T19:06:27.805" v="555"/>
          <ac:spMkLst>
            <pc:docMk/>
            <pc:sldMk cId="3429298847" sldId="422"/>
            <ac:spMk id="49" creationId="{3B33C88B-A2FF-7960-E1EA-3C4B459F82C0}"/>
          </ac:spMkLst>
        </pc:spChg>
        <pc:spChg chg="add mod">
          <ac:chgData name="Koen Verbeeck" userId="24d0e79a7fd977da" providerId="LiveId" clId="{BA5CD2F8-66DA-43DE-8187-1C492E55A66A}" dt="2023-10-13T19:06:27.805" v="555"/>
          <ac:spMkLst>
            <pc:docMk/>
            <pc:sldMk cId="3429298847" sldId="422"/>
            <ac:spMk id="50" creationId="{DF0C3A81-D1ED-C5D0-0080-1DEF6749A054}"/>
          </ac:spMkLst>
        </pc:spChg>
        <pc:spChg chg="add mod">
          <ac:chgData name="Koen Verbeeck" userId="24d0e79a7fd977da" providerId="LiveId" clId="{BA5CD2F8-66DA-43DE-8187-1C492E55A66A}" dt="2023-10-13T19:06:27.805" v="555"/>
          <ac:spMkLst>
            <pc:docMk/>
            <pc:sldMk cId="3429298847" sldId="422"/>
            <ac:spMk id="51" creationId="{778AF20C-EA7A-2D88-C739-864E4B7A2154}"/>
          </ac:spMkLst>
        </pc:spChg>
        <pc:spChg chg="add mod">
          <ac:chgData name="Koen Verbeeck" userId="24d0e79a7fd977da" providerId="LiveId" clId="{BA5CD2F8-66DA-43DE-8187-1C492E55A66A}" dt="2023-10-13T19:06:27.805" v="555"/>
          <ac:spMkLst>
            <pc:docMk/>
            <pc:sldMk cId="3429298847" sldId="422"/>
            <ac:spMk id="52" creationId="{861D257E-D1EC-60BB-9A8B-815702F40D26}"/>
          </ac:spMkLst>
        </pc:spChg>
        <pc:spChg chg="add mod">
          <ac:chgData name="Koen Verbeeck" userId="24d0e79a7fd977da" providerId="LiveId" clId="{BA5CD2F8-66DA-43DE-8187-1C492E55A66A}" dt="2023-10-13T19:06:27.805" v="555"/>
          <ac:spMkLst>
            <pc:docMk/>
            <pc:sldMk cId="3429298847" sldId="422"/>
            <ac:spMk id="53" creationId="{95F33573-8618-9467-5670-A5AC0D73B08A}"/>
          </ac:spMkLst>
        </pc:spChg>
        <pc:spChg chg="add mod">
          <ac:chgData name="Koen Verbeeck" userId="24d0e79a7fd977da" providerId="LiveId" clId="{BA5CD2F8-66DA-43DE-8187-1C492E55A66A}" dt="2023-10-13T19:06:27.805" v="555"/>
          <ac:spMkLst>
            <pc:docMk/>
            <pc:sldMk cId="3429298847" sldId="422"/>
            <ac:spMk id="54" creationId="{36A17800-3933-A39D-879A-24630353614A}"/>
          </ac:spMkLst>
        </pc:spChg>
        <pc:spChg chg="add mod">
          <ac:chgData name="Koen Verbeeck" userId="24d0e79a7fd977da" providerId="LiveId" clId="{BA5CD2F8-66DA-43DE-8187-1C492E55A66A}" dt="2023-10-13T19:06:27.805" v="555"/>
          <ac:spMkLst>
            <pc:docMk/>
            <pc:sldMk cId="3429298847" sldId="422"/>
            <ac:spMk id="55" creationId="{40AC9383-6700-E911-7211-CA3187DC9F8B}"/>
          </ac:spMkLst>
        </pc:spChg>
        <pc:grpChg chg="add mod">
          <ac:chgData name="Koen Verbeeck" userId="24d0e79a7fd977da" providerId="LiveId" clId="{BA5CD2F8-66DA-43DE-8187-1C492E55A66A}" dt="2023-10-13T19:06:27.805" v="555"/>
          <ac:grpSpMkLst>
            <pc:docMk/>
            <pc:sldMk cId="3429298847" sldId="422"/>
            <ac:grpSpMk id="17" creationId="{68F20EBF-9109-3D46-2CC5-72402EF34FB3}"/>
          </ac:grpSpMkLst>
        </pc:grpChg>
        <pc:grpChg chg="add mod">
          <ac:chgData name="Koen Verbeeck" userId="24d0e79a7fd977da" providerId="LiveId" clId="{BA5CD2F8-66DA-43DE-8187-1C492E55A66A}" dt="2023-10-13T19:06:27.805" v="555"/>
          <ac:grpSpMkLst>
            <pc:docMk/>
            <pc:sldMk cId="3429298847" sldId="422"/>
            <ac:grpSpMk id="31" creationId="{6B46D054-399C-6A57-C834-C640B32C4AC4}"/>
          </ac:grpSpMkLst>
        </pc:grpChg>
        <pc:grpChg chg="mod">
          <ac:chgData name="Koen Verbeeck" userId="24d0e79a7fd977da" providerId="LiveId" clId="{BA5CD2F8-66DA-43DE-8187-1C492E55A66A}" dt="2023-10-13T19:06:27.805" v="555"/>
          <ac:grpSpMkLst>
            <pc:docMk/>
            <pc:sldMk cId="3429298847" sldId="422"/>
            <ac:grpSpMk id="32" creationId="{7BAC1082-A793-7991-72AD-B65F10781B4C}"/>
          </ac:grpSpMkLst>
        </pc:grpChg>
        <pc:grpChg chg="mod">
          <ac:chgData name="Koen Verbeeck" userId="24d0e79a7fd977da" providerId="LiveId" clId="{BA5CD2F8-66DA-43DE-8187-1C492E55A66A}" dt="2023-10-13T19:06:27.805" v="555"/>
          <ac:grpSpMkLst>
            <pc:docMk/>
            <pc:sldMk cId="3429298847" sldId="422"/>
            <ac:grpSpMk id="34" creationId="{97CB84E5-99C0-AC41-22D3-F01D809E80CE}"/>
          </ac:grpSpMkLst>
        </pc:grpChg>
        <pc:grpChg chg="mod">
          <ac:chgData name="Koen Verbeeck" userId="24d0e79a7fd977da" providerId="LiveId" clId="{BA5CD2F8-66DA-43DE-8187-1C492E55A66A}" dt="2023-10-13T19:06:27.805" v="555"/>
          <ac:grpSpMkLst>
            <pc:docMk/>
            <pc:sldMk cId="3429298847" sldId="422"/>
            <ac:grpSpMk id="37" creationId="{0D417C02-F266-15A2-CBC9-012AA1C63062}"/>
          </ac:grpSpMkLst>
        </pc:grpChg>
        <pc:picChg chg="mod">
          <ac:chgData name="Koen Verbeeck" userId="24d0e79a7fd977da" providerId="LiveId" clId="{BA5CD2F8-66DA-43DE-8187-1C492E55A66A}" dt="2023-10-13T19:06:27.805" v="555"/>
          <ac:picMkLst>
            <pc:docMk/>
            <pc:sldMk cId="3429298847" sldId="422"/>
            <ac:picMk id="38" creationId="{3D6C7B46-F69C-FC45-16BA-FE95EECADABD}"/>
          </ac:picMkLst>
        </pc:picChg>
        <pc:picChg chg="mod">
          <ac:chgData name="Koen Verbeeck" userId="24d0e79a7fd977da" providerId="LiveId" clId="{BA5CD2F8-66DA-43DE-8187-1C492E55A66A}" dt="2023-10-13T19:06:27.805" v="555"/>
          <ac:picMkLst>
            <pc:docMk/>
            <pc:sldMk cId="3429298847" sldId="422"/>
            <ac:picMk id="39" creationId="{3E4299DB-EA43-7418-4A54-5C6310623812}"/>
          </ac:picMkLst>
        </pc:picChg>
        <pc:picChg chg="mod">
          <ac:chgData name="Koen Verbeeck" userId="24d0e79a7fd977da" providerId="LiveId" clId="{BA5CD2F8-66DA-43DE-8187-1C492E55A66A}" dt="2023-10-13T19:06:27.805" v="555"/>
          <ac:picMkLst>
            <pc:docMk/>
            <pc:sldMk cId="3429298847" sldId="422"/>
            <ac:picMk id="40" creationId="{0605BEEB-CFE4-251C-9FF1-4B5844FA38DE}"/>
          </ac:picMkLst>
        </pc:picChg>
        <pc:picChg chg="mod">
          <ac:chgData name="Koen Verbeeck" userId="24d0e79a7fd977da" providerId="LiveId" clId="{BA5CD2F8-66DA-43DE-8187-1C492E55A66A}" dt="2023-10-13T19:06:27.805" v="555"/>
          <ac:picMkLst>
            <pc:docMk/>
            <pc:sldMk cId="3429298847" sldId="422"/>
            <ac:picMk id="41" creationId="{3D2B32CB-C92D-120D-A2AD-79B85897C5B2}"/>
          </ac:picMkLst>
        </pc:picChg>
        <pc:picChg chg="mod">
          <ac:chgData name="Koen Verbeeck" userId="24d0e79a7fd977da" providerId="LiveId" clId="{BA5CD2F8-66DA-43DE-8187-1C492E55A66A}" dt="2023-10-13T19:06:27.805" v="555"/>
          <ac:picMkLst>
            <pc:docMk/>
            <pc:sldMk cId="3429298847" sldId="422"/>
            <ac:picMk id="42" creationId="{44113B37-53C7-35A1-C217-85687AA2D7BC}"/>
          </ac:picMkLst>
        </pc:picChg>
        <pc:picChg chg="mod">
          <ac:chgData name="Koen Verbeeck" userId="24d0e79a7fd977da" providerId="LiveId" clId="{BA5CD2F8-66DA-43DE-8187-1C492E55A66A}" dt="2023-10-13T19:06:27.805" v="555"/>
          <ac:picMkLst>
            <pc:docMk/>
            <pc:sldMk cId="3429298847" sldId="422"/>
            <ac:picMk id="43" creationId="{01604780-3E61-5737-FC03-57EE10FF070B}"/>
          </ac:picMkLst>
        </pc:picChg>
        <pc:picChg chg="mod">
          <ac:chgData name="Koen Verbeeck" userId="24d0e79a7fd977da" providerId="LiveId" clId="{BA5CD2F8-66DA-43DE-8187-1C492E55A66A}" dt="2023-10-13T19:06:27.805" v="555"/>
          <ac:picMkLst>
            <pc:docMk/>
            <pc:sldMk cId="3429298847" sldId="422"/>
            <ac:picMk id="44" creationId="{D12C820A-5774-1953-BC10-2DC84BADB394}"/>
          </ac:picMkLst>
        </pc:picChg>
        <pc:picChg chg="mod">
          <ac:chgData name="Koen Verbeeck" userId="24d0e79a7fd977da" providerId="LiveId" clId="{BA5CD2F8-66DA-43DE-8187-1C492E55A66A}" dt="2023-10-13T19:06:27.805" v="555"/>
          <ac:picMkLst>
            <pc:docMk/>
            <pc:sldMk cId="3429298847" sldId="422"/>
            <ac:picMk id="45" creationId="{1014FB8A-D2A5-A7CB-C6AC-AB272DBF87C5}"/>
          </ac:picMkLst>
        </pc:picChg>
        <pc:picChg chg="mod">
          <ac:chgData name="Koen Verbeeck" userId="24d0e79a7fd977da" providerId="LiveId" clId="{BA5CD2F8-66DA-43DE-8187-1C492E55A66A}" dt="2023-10-13T19:06:27.805" v="555"/>
          <ac:picMkLst>
            <pc:docMk/>
            <pc:sldMk cId="3429298847" sldId="422"/>
            <ac:picMk id="46" creationId="{560C975E-22C8-905B-950D-05947C1EEBF0}"/>
          </ac:picMkLst>
        </pc:picChg>
        <pc:picChg chg="mod">
          <ac:chgData name="Koen Verbeeck" userId="24d0e79a7fd977da" providerId="LiveId" clId="{BA5CD2F8-66DA-43DE-8187-1C492E55A66A}" dt="2023-10-13T19:06:27.805" v="555"/>
          <ac:picMkLst>
            <pc:docMk/>
            <pc:sldMk cId="3429298847" sldId="422"/>
            <ac:picMk id="47" creationId="{12922A63-A3AB-B1A7-5213-F98A0F05C204}"/>
          </ac:picMkLst>
        </pc:picChg>
        <pc:cxnChg chg="add mod">
          <ac:chgData name="Koen Verbeeck" userId="24d0e79a7fd977da" providerId="LiveId" clId="{BA5CD2F8-66DA-43DE-8187-1C492E55A66A}" dt="2023-10-13T19:06:27.805" v="555"/>
          <ac:cxnSpMkLst>
            <pc:docMk/>
            <pc:sldMk cId="3429298847" sldId="422"/>
            <ac:cxnSpMk id="10" creationId="{D1245776-F3BB-7D10-2340-7B2D89F2B9B6}"/>
          </ac:cxnSpMkLst>
        </pc:cxnChg>
        <pc:cxnChg chg="add mod">
          <ac:chgData name="Koen Verbeeck" userId="24d0e79a7fd977da" providerId="LiveId" clId="{BA5CD2F8-66DA-43DE-8187-1C492E55A66A}" dt="2023-10-13T19:06:27.805" v="555"/>
          <ac:cxnSpMkLst>
            <pc:docMk/>
            <pc:sldMk cId="3429298847" sldId="422"/>
            <ac:cxnSpMk id="11" creationId="{25AFF1EA-F4E8-049B-A108-5EB6B547425E}"/>
          </ac:cxnSpMkLst>
        </pc:cxnChg>
        <pc:cxnChg chg="add mod">
          <ac:chgData name="Koen Verbeeck" userId="24d0e79a7fd977da" providerId="LiveId" clId="{BA5CD2F8-66DA-43DE-8187-1C492E55A66A}" dt="2023-10-13T19:06:27.805" v="555"/>
          <ac:cxnSpMkLst>
            <pc:docMk/>
            <pc:sldMk cId="3429298847" sldId="422"/>
            <ac:cxnSpMk id="12" creationId="{B9FB87FD-3DB6-A7F0-C185-4174FCB17DCE}"/>
          </ac:cxnSpMkLst>
        </pc:cxnChg>
        <pc:cxnChg chg="mod">
          <ac:chgData name="Koen Verbeeck" userId="24d0e79a7fd977da" providerId="LiveId" clId="{BA5CD2F8-66DA-43DE-8187-1C492E55A66A}" dt="2023-10-13T19:06:27.805" v="555"/>
          <ac:cxnSpMkLst>
            <pc:docMk/>
            <pc:sldMk cId="3429298847" sldId="422"/>
            <ac:cxnSpMk id="21" creationId="{62589BB2-97DB-1EE3-54A8-6894F5819058}"/>
          </ac:cxnSpMkLst>
        </pc:cxnChg>
        <pc:cxnChg chg="mod">
          <ac:chgData name="Koen Verbeeck" userId="24d0e79a7fd977da" providerId="LiveId" clId="{BA5CD2F8-66DA-43DE-8187-1C492E55A66A}" dt="2023-10-13T19:06:27.805" v="555"/>
          <ac:cxnSpMkLst>
            <pc:docMk/>
            <pc:sldMk cId="3429298847" sldId="422"/>
            <ac:cxnSpMk id="22" creationId="{126677C2-8F27-75ED-8B6E-AC5B82C5F95F}"/>
          </ac:cxnSpMkLst>
        </pc:cxnChg>
        <pc:cxnChg chg="mod">
          <ac:chgData name="Koen Verbeeck" userId="24d0e79a7fd977da" providerId="LiveId" clId="{BA5CD2F8-66DA-43DE-8187-1C492E55A66A}" dt="2023-10-13T19:06:27.805" v="555"/>
          <ac:cxnSpMkLst>
            <pc:docMk/>
            <pc:sldMk cId="3429298847" sldId="422"/>
            <ac:cxnSpMk id="23" creationId="{5F908575-AB30-DC13-A28F-324854771FA3}"/>
          </ac:cxnSpMkLst>
        </pc:cxnChg>
        <pc:cxnChg chg="mod">
          <ac:chgData name="Koen Verbeeck" userId="24d0e79a7fd977da" providerId="LiveId" clId="{BA5CD2F8-66DA-43DE-8187-1C492E55A66A}" dt="2023-10-13T19:06:27.805" v="555"/>
          <ac:cxnSpMkLst>
            <pc:docMk/>
            <pc:sldMk cId="3429298847" sldId="422"/>
            <ac:cxnSpMk id="24" creationId="{E0605A71-36D7-C857-7413-47076C041D1F}"/>
          </ac:cxnSpMkLst>
        </pc:cxnChg>
        <pc:cxnChg chg="mod">
          <ac:chgData name="Koen Verbeeck" userId="24d0e79a7fd977da" providerId="LiveId" clId="{BA5CD2F8-66DA-43DE-8187-1C492E55A66A}" dt="2023-10-13T19:06:27.805" v="555"/>
          <ac:cxnSpMkLst>
            <pc:docMk/>
            <pc:sldMk cId="3429298847" sldId="422"/>
            <ac:cxnSpMk id="25" creationId="{0B0E7929-FAC0-C0CC-8B66-E2594FB3B6AC}"/>
          </ac:cxnSpMkLst>
        </pc:cxnChg>
        <pc:cxnChg chg="mod">
          <ac:chgData name="Koen Verbeeck" userId="24d0e79a7fd977da" providerId="LiveId" clId="{BA5CD2F8-66DA-43DE-8187-1C492E55A66A}" dt="2023-10-13T19:06:27.805" v="555"/>
          <ac:cxnSpMkLst>
            <pc:docMk/>
            <pc:sldMk cId="3429298847" sldId="422"/>
            <ac:cxnSpMk id="26" creationId="{275D670E-EB8D-51A3-7751-E79E1C84EF7A}"/>
          </ac:cxnSpMkLst>
        </pc:cxnChg>
        <pc:cxnChg chg="mod">
          <ac:chgData name="Koen Verbeeck" userId="24d0e79a7fd977da" providerId="LiveId" clId="{BA5CD2F8-66DA-43DE-8187-1C492E55A66A}" dt="2023-10-13T19:06:27.805" v="555"/>
          <ac:cxnSpMkLst>
            <pc:docMk/>
            <pc:sldMk cId="3429298847" sldId="422"/>
            <ac:cxnSpMk id="27" creationId="{FDA023BB-A02D-0CE1-4C86-DD52E3CFAD01}"/>
          </ac:cxnSpMkLst>
        </pc:cxnChg>
        <pc:cxnChg chg="mod">
          <ac:chgData name="Koen Verbeeck" userId="24d0e79a7fd977da" providerId="LiveId" clId="{BA5CD2F8-66DA-43DE-8187-1C492E55A66A}" dt="2023-10-13T19:06:27.805" v="555"/>
          <ac:cxnSpMkLst>
            <pc:docMk/>
            <pc:sldMk cId="3429298847" sldId="422"/>
            <ac:cxnSpMk id="28" creationId="{181D7DA8-3151-6907-FE75-941560F6BC96}"/>
          </ac:cxnSpMkLst>
        </pc:cxnChg>
        <pc:cxnChg chg="mod">
          <ac:chgData name="Koen Verbeeck" userId="24d0e79a7fd977da" providerId="LiveId" clId="{BA5CD2F8-66DA-43DE-8187-1C492E55A66A}" dt="2023-10-13T19:06:27.805" v="555"/>
          <ac:cxnSpMkLst>
            <pc:docMk/>
            <pc:sldMk cId="3429298847" sldId="422"/>
            <ac:cxnSpMk id="29" creationId="{6D027DC4-3E05-02A7-F445-09625B79AEC5}"/>
          </ac:cxnSpMkLst>
        </pc:cxnChg>
        <pc:cxnChg chg="mod">
          <ac:chgData name="Koen Verbeeck" userId="24d0e79a7fd977da" providerId="LiveId" clId="{BA5CD2F8-66DA-43DE-8187-1C492E55A66A}" dt="2023-10-13T19:06:27.805" v="555"/>
          <ac:cxnSpMkLst>
            <pc:docMk/>
            <pc:sldMk cId="3429298847" sldId="422"/>
            <ac:cxnSpMk id="30" creationId="{02BCC744-B3FB-B514-4839-ACD5EAEF37F0}"/>
          </ac:cxnSpMkLst>
        </pc:cxnChg>
      </pc:sldChg>
      <pc:sldChg chg="addSp delSp modSp new mod">
        <pc:chgData name="Koen Verbeeck" userId="24d0e79a7fd977da" providerId="LiveId" clId="{BA5CD2F8-66DA-43DE-8187-1C492E55A66A}" dt="2023-10-24T12:56:20.836" v="2456" actId="20577"/>
        <pc:sldMkLst>
          <pc:docMk/>
          <pc:sldMk cId="3996753742" sldId="423"/>
        </pc:sldMkLst>
        <pc:spChg chg="del">
          <ac:chgData name="Koen Verbeeck" userId="24d0e79a7fd977da" providerId="LiveId" clId="{BA5CD2F8-66DA-43DE-8187-1C492E55A66A}" dt="2023-10-13T19:08:57.240" v="557" actId="478"/>
          <ac:spMkLst>
            <pc:docMk/>
            <pc:sldMk cId="3996753742" sldId="423"/>
            <ac:spMk id="2" creationId="{A770F827-A250-96BF-7B21-1FA70D375B56}"/>
          </ac:spMkLst>
        </pc:spChg>
        <pc:spChg chg="del">
          <ac:chgData name="Koen Verbeeck" userId="24d0e79a7fd977da" providerId="LiveId" clId="{BA5CD2F8-66DA-43DE-8187-1C492E55A66A}" dt="2023-10-13T19:08:57.240" v="557" actId="478"/>
          <ac:spMkLst>
            <pc:docMk/>
            <pc:sldMk cId="3996753742" sldId="423"/>
            <ac:spMk id="3" creationId="{B9A3FD18-61A5-B006-B4F5-5F63AD80BFED}"/>
          </ac:spMkLst>
        </pc:spChg>
        <pc:spChg chg="add del mod">
          <ac:chgData name="Koen Verbeeck" userId="24d0e79a7fd977da" providerId="LiveId" clId="{BA5CD2F8-66DA-43DE-8187-1C492E55A66A}" dt="2023-10-13T19:09:01.565" v="559"/>
          <ac:spMkLst>
            <pc:docMk/>
            <pc:sldMk cId="3996753742" sldId="423"/>
            <ac:spMk id="4" creationId="{96E2BB6E-140C-2546-9340-DAE90131C964}"/>
          </ac:spMkLst>
        </pc:spChg>
        <pc:spChg chg="add mod">
          <ac:chgData name="Koen Verbeeck" userId="24d0e79a7fd977da" providerId="LiveId" clId="{BA5CD2F8-66DA-43DE-8187-1C492E55A66A}" dt="2023-10-24T12:56:20.836" v="2456" actId="20577"/>
          <ac:spMkLst>
            <pc:docMk/>
            <pc:sldMk cId="3996753742" sldId="423"/>
            <ac:spMk id="6" creationId="{15614DB6-524F-A9B7-AD69-21A3E198BE95}"/>
          </ac:spMkLst>
        </pc:spChg>
        <pc:picChg chg="add del mod">
          <ac:chgData name="Koen Verbeeck" userId="24d0e79a7fd977da" providerId="LiveId" clId="{BA5CD2F8-66DA-43DE-8187-1C492E55A66A}" dt="2023-10-13T19:09:01.565" v="559"/>
          <ac:picMkLst>
            <pc:docMk/>
            <pc:sldMk cId="3996753742" sldId="423"/>
            <ac:picMk id="5" creationId="{C44EA84E-D792-2ED6-3739-F624CD650F27}"/>
          </ac:picMkLst>
        </pc:picChg>
        <pc:picChg chg="add mod">
          <ac:chgData name="Koen Verbeeck" userId="24d0e79a7fd977da" providerId="LiveId" clId="{BA5CD2F8-66DA-43DE-8187-1C492E55A66A}" dt="2023-10-13T19:09:01.698" v="560"/>
          <ac:picMkLst>
            <pc:docMk/>
            <pc:sldMk cId="3996753742" sldId="423"/>
            <ac:picMk id="7" creationId="{9C799956-8274-9803-E8AC-BBA491105486}"/>
          </ac:picMkLst>
        </pc:picChg>
        <pc:picChg chg="add mod">
          <ac:chgData name="Koen Verbeeck" userId="24d0e79a7fd977da" providerId="LiveId" clId="{BA5CD2F8-66DA-43DE-8187-1C492E55A66A}" dt="2023-10-13T19:10:26.033" v="565" actId="1076"/>
          <ac:picMkLst>
            <pc:docMk/>
            <pc:sldMk cId="3996753742" sldId="423"/>
            <ac:picMk id="8" creationId="{6700D98A-E75F-263B-632B-5DEA7C807C5D}"/>
          </ac:picMkLst>
        </pc:picChg>
      </pc:sldChg>
      <pc:sldChg chg="addSp delSp modSp new mod">
        <pc:chgData name="Koen Verbeeck" userId="24d0e79a7fd977da" providerId="LiveId" clId="{BA5CD2F8-66DA-43DE-8187-1C492E55A66A}" dt="2023-10-19T12:43:58.712" v="1284" actId="1076"/>
        <pc:sldMkLst>
          <pc:docMk/>
          <pc:sldMk cId="2803783974" sldId="424"/>
        </pc:sldMkLst>
        <pc:spChg chg="del">
          <ac:chgData name="Koen Verbeeck" userId="24d0e79a7fd977da" providerId="LiveId" clId="{BA5CD2F8-66DA-43DE-8187-1C492E55A66A}" dt="2023-10-19T12:43:37.054" v="1279" actId="478"/>
          <ac:spMkLst>
            <pc:docMk/>
            <pc:sldMk cId="2803783974" sldId="424"/>
            <ac:spMk id="2" creationId="{F85FDAF8-E740-2840-E52E-362E087E8D0C}"/>
          </ac:spMkLst>
        </pc:spChg>
        <pc:spChg chg="del">
          <ac:chgData name="Koen Verbeeck" userId="24d0e79a7fd977da" providerId="LiveId" clId="{BA5CD2F8-66DA-43DE-8187-1C492E55A66A}" dt="2023-10-19T12:43:37.054" v="1279" actId="478"/>
          <ac:spMkLst>
            <pc:docMk/>
            <pc:sldMk cId="2803783974" sldId="424"/>
            <ac:spMk id="3" creationId="{DC5823B7-28E3-0164-8C38-B0B7387D855B}"/>
          </ac:spMkLst>
        </pc:spChg>
        <pc:picChg chg="add mod">
          <ac:chgData name="Koen Verbeeck" userId="24d0e79a7fd977da" providerId="LiveId" clId="{BA5CD2F8-66DA-43DE-8187-1C492E55A66A}" dt="2023-10-19T12:43:41.986" v="1282" actId="14100"/>
          <ac:picMkLst>
            <pc:docMk/>
            <pc:sldMk cId="2803783974" sldId="424"/>
            <ac:picMk id="1026" creationId="{37D75268-6AF6-94C6-730E-02731886D4A1}"/>
          </ac:picMkLst>
        </pc:picChg>
        <pc:picChg chg="add mod">
          <ac:chgData name="Koen Verbeeck" userId="24d0e79a7fd977da" providerId="LiveId" clId="{BA5CD2F8-66DA-43DE-8187-1C492E55A66A}" dt="2023-10-19T12:43:58.712" v="1284" actId="1076"/>
          <ac:picMkLst>
            <pc:docMk/>
            <pc:sldMk cId="2803783974" sldId="424"/>
            <ac:picMk id="1028" creationId="{9EEF89CD-8BAD-6320-338F-0197241CD2E4}"/>
          </ac:picMkLst>
        </pc:picChg>
      </pc:sldChg>
      <pc:sldChg chg="modSp add mod">
        <pc:chgData name="Koen Verbeeck" userId="24d0e79a7fd977da" providerId="LiveId" clId="{BA5CD2F8-66DA-43DE-8187-1C492E55A66A}" dt="2023-10-13T19:11:07.371" v="579" actId="20577"/>
        <pc:sldMkLst>
          <pc:docMk/>
          <pc:sldMk cId="1900616416" sldId="425"/>
        </pc:sldMkLst>
        <pc:spChg chg="mod">
          <ac:chgData name="Koen Verbeeck" userId="24d0e79a7fd977da" providerId="LiveId" clId="{BA5CD2F8-66DA-43DE-8187-1C492E55A66A}" dt="2023-10-13T19:11:07.371" v="579" actId="20577"/>
          <ac:spMkLst>
            <pc:docMk/>
            <pc:sldMk cId="1900616416" sldId="425"/>
            <ac:spMk id="3" creationId="{3D26A323-ADFE-A02B-E06E-9E5FC358A01F}"/>
          </ac:spMkLst>
        </pc:spChg>
      </pc:sldChg>
      <pc:sldChg chg="modSp add mod">
        <pc:chgData name="Koen Verbeeck" userId="24d0e79a7fd977da" providerId="LiveId" clId="{BA5CD2F8-66DA-43DE-8187-1C492E55A66A}" dt="2023-10-13T19:11:18.934" v="589" actId="20577"/>
        <pc:sldMkLst>
          <pc:docMk/>
          <pc:sldMk cId="3112673607" sldId="426"/>
        </pc:sldMkLst>
        <pc:spChg chg="mod">
          <ac:chgData name="Koen Verbeeck" userId="24d0e79a7fd977da" providerId="LiveId" clId="{BA5CD2F8-66DA-43DE-8187-1C492E55A66A}" dt="2023-10-13T19:11:18.934" v="589" actId="20577"/>
          <ac:spMkLst>
            <pc:docMk/>
            <pc:sldMk cId="3112673607" sldId="426"/>
            <ac:spMk id="3" creationId="{3D26A323-ADFE-A02B-E06E-9E5FC358A01F}"/>
          </ac:spMkLst>
        </pc:spChg>
      </pc:sldChg>
      <pc:sldChg chg="modSp add mod">
        <pc:chgData name="Koen Verbeeck" userId="24d0e79a7fd977da" providerId="LiveId" clId="{BA5CD2F8-66DA-43DE-8187-1C492E55A66A}" dt="2023-10-13T19:11:36.798" v="597" actId="20577"/>
        <pc:sldMkLst>
          <pc:docMk/>
          <pc:sldMk cId="1159298203" sldId="427"/>
        </pc:sldMkLst>
        <pc:spChg chg="mod">
          <ac:chgData name="Koen Verbeeck" userId="24d0e79a7fd977da" providerId="LiveId" clId="{BA5CD2F8-66DA-43DE-8187-1C492E55A66A}" dt="2023-10-13T19:11:36.798" v="597" actId="20577"/>
          <ac:spMkLst>
            <pc:docMk/>
            <pc:sldMk cId="1159298203" sldId="427"/>
            <ac:spMk id="3" creationId="{3D26A323-ADFE-A02B-E06E-9E5FC358A01F}"/>
          </ac:spMkLst>
        </pc:spChg>
      </pc:sldChg>
      <pc:sldChg chg="modSp add mod">
        <pc:chgData name="Koen Verbeeck" userId="24d0e79a7fd977da" providerId="LiveId" clId="{BA5CD2F8-66DA-43DE-8187-1C492E55A66A}" dt="2023-10-13T19:11:57.120" v="607" actId="20577"/>
        <pc:sldMkLst>
          <pc:docMk/>
          <pc:sldMk cId="1922521532" sldId="428"/>
        </pc:sldMkLst>
        <pc:spChg chg="mod">
          <ac:chgData name="Koen Verbeeck" userId="24d0e79a7fd977da" providerId="LiveId" clId="{BA5CD2F8-66DA-43DE-8187-1C492E55A66A}" dt="2023-10-13T19:11:57.120" v="607" actId="20577"/>
          <ac:spMkLst>
            <pc:docMk/>
            <pc:sldMk cId="1922521532" sldId="428"/>
            <ac:spMk id="3" creationId="{3D26A323-ADFE-A02B-E06E-9E5FC358A01F}"/>
          </ac:spMkLst>
        </pc:spChg>
      </pc:sldChg>
      <pc:sldChg chg="modSp add mod">
        <pc:chgData name="Koen Verbeeck" userId="24d0e79a7fd977da" providerId="LiveId" clId="{BA5CD2F8-66DA-43DE-8187-1C492E55A66A}" dt="2023-10-13T19:12:46.105" v="627" actId="20577"/>
        <pc:sldMkLst>
          <pc:docMk/>
          <pc:sldMk cId="2573432886" sldId="429"/>
        </pc:sldMkLst>
        <pc:spChg chg="mod">
          <ac:chgData name="Koen Verbeeck" userId="24d0e79a7fd977da" providerId="LiveId" clId="{BA5CD2F8-66DA-43DE-8187-1C492E55A66A}" dt="2023-10-13T19:12:46.105" v="627" actId="20577"/>
          <ac:spMkLst>
            <pc:docMk/>
            <pc:sldMk cId="2573432886" sldId="429"/>
            <ac:spMk id="3" creationId="{3D26A323-ADFE-A02B-E06E-9E5FC358A01F}"/>
          </ac:spMkLst>
        </pc:spChg>
      </pc:sldChg>
      <pc:sldChg chg="modSp add mod">
        <pc:chgData name="Koen Verbeeck" userId="24d0e79a7fd977da" providerId="LiveId" clId="{BA5CD2F8-66DA-43DE-8187-1C492E55A66A}" dt="2023-10-13T19:13:03.613" v="655" actId="14100"/>
        <pc:sldMkLst>
          <pc:docMk/>
          <pc:sldMk cId="1171969775" sldId="430"/>
        </pc:sldMkLst>
        <pc:spChg chg="mod">
          <ac:chgData name="Koen Verbeeck" userId="24d0e79a7fd977da" providerId="LiveId" clId="{BA5CD2F8-66DA-43DE-8187-1C492E55A66A}" dt="2023-10-13T19:13:03.613" v="655" actId="14100"/>
          <ac:spMkLst>
            <pc:docMk/>
            <pc:sldMk cId="1171969775" sldId="430"/>
            <ac:spMk id="3" creationId="{3D26A323-ADFE-A02B-E06E-9E5FC358A01F}"/>
          </ac:spMkLst>
        </pc:spChg>
      </pc:sldChg>
      <pc:sldChg chg="modSp add mod">
        <pc:chgData name="Koen Verbeeck" userId="24d0e79a7fd977da" providerId="LiveId" clId="{BA5CD2F8-66DA-43DE-8187-1C492E55A66A}" dt="2023-10-13T19:13:13.526" v="680" actId="20577"/>
        <pc:sldMkLst>
          <pc:docMk/>
          <pc:sldMk cId="1160934701" sldId="431"/>
        </pc:sldMkLst>
        <pc:spChg chg="mod">
          <ac:chgData name="Koen Verbeeck" userId="24d0e79a7fd977da" providerId="LiveId" clId="{BA5CD2F8-66DA-43DE-8187-1C492E55A66A}" dt="2023-10-13T19:13:13.526" v="680" actId="20577"/>
          <ac:spMkLst>
            <pc:docMk/>
            <pc:sldMk cId="1160934701" sldId="431"/>
            <ac:spMk id="3" creationId="{3D26A323-ADFE-A02B-E06E-9E5FC358A01F}"/>
          </ac:spMkLst>
        </pc:spChg>
      </pc:sldChg>
      <pc:sldChg chg="addSp delSp modSp new mod modClrScheme modAnim chgLayout">
        <pc:chgData name="Koen Verbeeck" userId="24d0e79a7fd977da" providerId="LiveId" clId="{BA5CD2F8-66DA-43DE-8187-1C492E55A66A}" dt="2023-10-24T12:57:56.704" v="2458" actId="1076"/>
        <pc:sldMkLst>
          <pc:docMk/>
          <pc:sldMk cId="1170743350" sldId="432"/>
        </pc:sldMkLst>
        <pc:spChg chg="del mod ord">
          <ac:chgData name="Koen Verbeeck" userId="24d0e79a7fd977da" providerId="LiveId" clId="{BA5CD2F8-66DA-43DE-8187-1C492E55A66A}" dt="2023-10-16T10:54:46.976" v="682" actId="700"/>
          <ac:spMkLst>
            <pc:docMk/>
            <pc:sldMk cId="1170743350" sldId="432"/>
            <ac:spMk id="2" creationId="{BFF14E40-1481-2120-812B-0FC18332EE72}"/>
          </ac:spMkLst>
        </pc:spChg>
        <pc:spChg chg="del mod ord">
          <ac:chgData name="Koen Verbeeck" userId="24d0e79a7fd977da" providerId="LiveId" clId="{BA5CD2F8-66DA-43DE-8187-1C492E55A66A}" dt="2023-10-16T10:54:46.976" v="682" actId="700"/>
          <ac:spMkLst>
            <pc:docMk/>
            <pc:sldMk cId="1170743350" sldId="432"/>
            <ac:spMk id="3" creationId="{0F82F067-0D7B-8EC3-3CF9-D9A85B9B679A}"/>
          </ac:spMkLst>
        </pc:spChg>
        <pc:spChg chg="add del mod ord">
          <ac:chgData name="Koen Verbeeck" userId="24d0e79a7fd977da" providerId="LiveId" clId="{BA5CD2F8-66DA-43DE-8187-1C492E55A66A}" dt="2023-10-16T10:56:15.664" v="684" actId="478"/>
          <ac:spMkLst>
            <pc:docMk/>
            <pc:sldMk cId="1170743350" sldId="432"/>
            <ac:spMk id="4" creationId="{1F259360-14CF-15E1-4BC9-9111097972C3}"/>
          </ac:spMkLst>
        </pc:spChg>
        <pc:spChg chg="add del mod ord">
          <ac:chgData name="Koen Verbeeck" userId="24d0e79a7fd977da" providerId="LiveId" clId="{BA5CD2F8-66DA-43DE-8187-1C492E55A66A}" dt="2023-10-16T10:56:16.988" v="685" actId="478"/>
          <ac:spMkLst>
            <pc:docMk/>
            <pc:sldMk cId="1170743350" sldId="432"/>
            <ac:spMk id="5" creationId="{BCBDC4F4-C753-2B92-5013-F72D7297322D}"/>
          </ac:spMkLst>
        </pc:spChg>
        <pc:spChg chg="add mod">
          <ac:chgData name="Koen Verbeeck" userId="24d0e79a7fd977da" providerId="LiveId" clId="{BA5CD2F8-66DA-43DE-8187-1C492E55A66A}" dt="2023-10-16T10:56:10.999" v="683"/>
          <ac:spMkLst>
            <pc:docMk/>
            <pc:sldMk cId="1170743350" sldId="432"/>
            <ac:spMk id="7" creationId="{C12A484C-4D09-195C-363F-9A6FDA59FAE1}"/>
          </ac:spMkLst>
        </pc:spChg>
        <pc:picChg chg="add mod">
          <ac:chgData name="Koen Verbeeck" userId="24d0e79a7fd977da" providerId="LiveId" clId="{BA5CD2F8-66DA-43DE-8187-1C492E55A66A}" dt="2023-10-16T10:56:10.999" v="683"/>
          <ac:picMkLst>
            <pc:docMk/>
            <pc:sldMk cId="1170743350" sldId="432"/>
            <ac:picMk id="6" creationId="{6A8E6BEB-F515-9676-E266-3B6989058F37}"/>
          </ac:picMkLst>
        </pc:picChg>
        <pc:picChg chg="add mod">
          <ac:chgData name="Koen Verbeeck" userId="24d0e79a7fd977da" providerId="LiveId" clId="{BA5CD2F8-66DA-43DE-8187-1C492E55A66A}" dt="2023-10-24T12:57:56.704" v="2458" actId="1076"/>
          <ac:picMkLst>
            <pc:docMk/>
            <pc:sldMk cId="1170743350" sldId="432"/>
            <ac:picMk id="8" creationId="{437F43A7-0F28-5276-294E-53A6E2546843}"/>
          </ac:picMkLst>
        </pc:picChg>
        <pc:picChg chg="add mod">
          <ac:chgData name="Koen Verbeeck" userId="24d0e79a7fd977da" providerId="LiveId" clId="{BA5CD2F8-66DA-43DE-8187-1C492E55A66A}" dt="2023-10-24T12:57:53.516" v="2457" actId="1076"/>
          <ac:picMkLst>
            <pc:docMk/>
            <pc:sldMk cId="1170743350" sldId="432"/>
            <ac:picMk id="10" creationId="{2F153B2C-F762-E3BB-07C7-F4886748E0E0}"/>
          </ac:picMkLst>
        </pc:picChg>
      </pc:sldChg>
      <pc:sldChg chg="addSp delSp modSp new mod modAnim">
        <pc:chgData name="Koen Verbeeck" userId="24d0e79a7fd977da" providerId="LiveId" clId="{BA5CD2F8-66DA-43DE-8187-1C492E55A66A}" dt="2023-10-16T11:07:07.991" v="727"/>
        <pc:sldMkLst>
          <pc:docMk/>
          <pc:sldMk cId="2187368037" sldId="433"/>
        </pc:sldMkLst>
        <pc:spChg chg="del">
          <ac:chgData name="Koen Verbeeck" userId="24d0e79a7fd977da" providerId="LiveId" clId="{BA5CD2F8-66DA-43DE-8187-1C492E55A66A}" dt="2023-10-16T10:59:49.262" v="694" actId="478"/>
          <ac:spMkLst>
            <pc:docMk/>
            <pc:sldMk cId="2187368037" sldId="433"/>
            <ac:spMk id="2" creationId="{0019645E-2378-4335-DA74-5446444F1694}"/>
          </ac:spMkLst>
        </pc:spChg>
        <pc:spChg chg="del">
          <ac:chgData name="Koen Verbeeck" userId="24d0e79a7fd977da" providerId="LiveId" clId="{BA5CD2F8-66DA-43DE-8187-1C492E55A66A}" dt="2023-10-16T10:59:49.262" v="694" actId="478"/>
          <ac:spMkLst>
            <pc:docMk/>
            <pc:sldMk cId="2187368037" sldId="433"/>
            <ac:spMk id="3" creationId="{7C126198-27E7-76D4-5EE8-BFB35ED87915}"/>
          </ac:spMkLst>
        </pc:spChg>
        <pc:spChg chg="add mod">
          <ac:chgData name="Koen Verbeeck" userId="24d0e79a7fd977da" providerId="LiveId" clId="{BA5CD2F8-66DA-43DE-8187-1C492E55A66A}" dt="2023-10-16T10:59:54.719" v="706" actId="20577"/>
          <ac:spMkLst>
            <pc:docMk/>
            <pc:sldMk cId="2187368037" sldId="433"/>
            <ac:spMk id="4" creationId="{5726F60C-9956-DB47-1E9E-B0E5A0091373}"/>
          </ac:spMkLst>
        </pc:spChg>
        <pc:picChg chg="add mod">
          <ac:chgData name="Koen Verbeeck" userId="24d0e79a7fd977da" providerId="LiveId" clId="{BA5CD2F8-66DA-43DE-8187-1C492E55A66A}" dt="2023-10-16T11:03:10.437" v="708" actId="1076"/>
          <ac:picMkLst>
            <pc:docMk/>
            <pc:sldMk cId="2187368037" sldId="433"/>
            <ac:picMk id="6" creationId="{F1D07062-1124-B682-A9D6-AD47F977D735}"/>
          </ac:picMkLst>
        </pc:picChg>
        <pc:picChg chg="add mod">
          <ac:chgData name="Koen Verbeeck" userId="24d0e79a7fd977da" providerId="LiveId" clId="{BA5CD2F8-66DA-43DE-8187-1C492E55A66A}" dt="2023-10-16T11:05:53.826" v="720" actId="1076"/>
          <ac:picMkLst>
            <pc:docMk/>
            <pc:sldMk cId="2187368037" sldId="433"/>
            <ac:picMk id="8" creationId="{3D57C5AA-B8D3-21BE-52EA-89CD30CC91AA}"/>
          </ac:picMkLst>
        </pc:picChg>
        <pc:picChg chg="add del mod">
          <ac:chgData name="Koen Verbeeck" userId="24d0e79a7fd977da" providerId="LiveId" clId="{BA5CD2F8-66DA-43DE-8187-1C492E55A66A}" dt="2023-10-16T11:06:10.591" v="722" actId="478"/>
          <ac:picMkLst>
            <pc:docMk/>
            <pc:sldMk cId="2187368037" sldId="433"/>
            <ac:picMk id="10" creationId="{C9DB6A9A-E103-DE17-AA84-A9294E05AED5}"/>
          </ac:picMkLst>
        </pc:picChg>
        <pc:picChg chg="add mod">
          <ac:chgData name="Koen Verbeeck" userId="24d0e79a7fd977da" providerId="LiveId" clId="{BA5CD2F8-66DA-43DE-8187-1C492E55A66A}" dt="2023-10-16T11:05:29.494" v="716" actId="1076"/>
          <ac:picMkLst>
            <pc:docMk/>
            <pc:sldMk cId="2187368037" sldId="433"/>
            <ac:picMk id="1026" creationId="{2F27470B-67F4-2D95-D9E1-644CF98DD268}"/>
          </ac:picMkLst>
        </pc:picChg>
        <pc:picChg chg="add mod">
          <ac:chgData name="Koen Verbeeck" userId="24d0e79a7fd977da" providerId="LiveId" clId="{BA5CD2F8-66DA-43DE-8187-1C492E55A66A}" dt="2023-10-16T11:07:01.019" v="725" actId="1076"/>
          <ac:picMkLst>
            <pc:docMk/>
            <pc:sldMk cId="2187368037" sldId="433"/>
            <ac:picMk id="1028" creationId="{99E0EEE4-FCCF-85C5-BEE8-0F35D1F8FD79}"/>
          </ac:picMkLst>
        </pc:picChg>
      </pc:sldChg>
      <pc:sldChg chg="addSp delSp modSp new mod modAnim">
        <pc:chgData name="Koen Verbeeck" userId="24d0e79a7fd977da" providerId="LiveId" clId="{BA5CD2F8-66DA-43DE-8187-1C492E55A66A}" dt="2023-10-16T11:12:57.074" v="748"/>
        <pc:sldMkLst>
          <pc:docMk/>
          <pc:sldMk cId="1977894409" sldId="434"/>
        </pc:sldMkLst>
        <pc:spChg chg="del">
          <ac:chgData name="Koen Verbeeck" userId="24d0e79a7fd977da" providerId="LiveId" clId="{BA5CD2F8-66DA-43DE-8187-1C492E55A66A}" dt="2023-10-16T11:08:01.052" v="730" actId="478"/>
          <ac:spMkLst>
            <pc:docMk/>
            <pc:sldMk cId="1977894409" sldId="434"/>
            <ac:spMk id="2" creationId="{4A072E95-8071-019C-6EA9-2AE5298387C6}"/>
          </ac:spMkLst>
        </pc:spChg>
        <pc:spChg chg="del">
          <ac:chgData name="Koen Verbeeck" userId="24d0e79a7fd977da" providerId="LiveId" clId="{BA5CD2F8-66DA-43DE-8187-1C492E55A66A}" dt="2023-10-16T11:07:59.782" v="729" actId="478"/>
          <ac:spMkLst>
            <pc:docMk/>
            <pc:sldMk cId="1977894409" sldId="434"/>
            <ac:spMk id="3" creationId="{631E222D-E22A-8D78-DD3D-DE52B999C283}"/>
          </ac:spMkLst>
        </pc:spChg>
        <pc:spChg chg="add mod">
          <ac:chgData name="Koen Verbeeck" userId="24d0e79a7fd977da" providerId="LiveId" clId="{BA5CD2F8-66DA-43DE-8187-1C492E55A66A}" dt="2023-10-16T11:08:06.853" v="743" actId="20577"/>
          <ac:spMkLst>
            <pc:docMk/>
            <pc:sldMk cId="1977894409" sldId="434"/>
            <ac:spMk id="4" creationId="{2F7FAB0D-5100-A377-7C50-C8953AB6A5BA}"/>
          </ac:spMkLst>
        </pc:spChg>
        <pc:picChg chg="add mod">
          <ac:chgData name="Koen Verbeeck" userId="24d0e79a7fd977da" providerId="LiveId" clId="{BA5CD2F8-66DA-43DE-8187-1C492E55A66A}" dt="2023-10-16T11:10:32.059" v="745" actId="1076"/>
          <ac:picMkLst>
            <pc:docMk/>
            <pc:sldMk cId="1977894409" sldId="434"/>
            <ac:picMk id="6" creationId="{7B53BD2B-7FB7-548D-74DD-EA10614974AB}"/>
          </ac:picMkLst>
        </pc:picChg>
        <pc:picChg chg="add mod">
          <ac:chgData name="Koen Verbeeck" userId="24d0e79a7fd977da" providerId="LiveId" clId="{BA5CD2F8-66DA-43DE-8187-1C492E55A66A}" dt="2023-10-16T11:12:45.766" v="747" actId="1076"/>
          <ac:picMkLst>
            <pc:docMk/>
            <pc:sldMk cId="1977894409" sldId="434"/>
            <ac:picMk id="8" creationId="{FDADBDD1-0DEB-31CE-92AF-2A3024D35709}"/>
          </ac:picMkLst>
        </pc:picChg>
      </pc:sldChg>
      <pc:sldChg chg="addSp delSp modSp new mod delAnim modAnim">
        <pc:chgData name="Koen Verbeeck" userId="24d0e79a7fd977da" providerId="LiveId" clId="{BA5CD2F8-66DA-43DE-8187-1C492E55A66A}" dt="2023-10-16T11:17:33.797" v="783" actId="20577"/>
        <pc:sldMkLst>
          <pc:docMk/>
          <pc:sldMk cId="3655917864" sldId="435"/>
        </pc:sldMkLst>
        <pc:spChg chg="del">
          <ac:chgData name="Koen Verbeeck" userId="24d0e79a7fd977da" providerId="LiveId" clId="{BA5CD2F8-66DA-43DE-8187-1C492E55A66A}" dt="2023-10-16T11:16:03.341" v="750" actId="478"/>
          <ac:spMkLst>
            <pc:docMk/>
            <pc:sldMk cId="3655917864" sldId="435"/>
            <ac:spMk id="2" creationId="{2AB1CF45-7826-E482-FE77-D352F895F328}"/>
          </ac:spMkLst>
        </pc:spChg>
        <pc:spChg chg="del">
          <ac:chgData name="Koen Verbeeck" userId="24d0e79a7fd977da" providerId="LiveId" clId="{BA5CD2F8-66DA-43DE-8187-1C492E55A66A}" dt="2023-10-16T11:16:03.341" v="750" actId="478"/>
          <ac:spMkLst>
            <pc:docMk/>
            <pc:sldMk cId="3655917864" sldId="435"/>
            <ac:spMk id="3" creationId="{0A6C8076-3BA0-96D9-A9FC-DABC3FC57B30}"/>
          </ac:spMkLst>
        </pc:spChg>
        <pc:spChg chg="add mod">
          <ac:chgData name="Koen Verbeeck" userId="24d0e79a7fd977da" providerId="LiveId" clId="{BA5CD2F8-66DA-43DE-8187-1C492E55A66A}" dt="2023-10-16T11:17:33.797" v="783" actId="20577"/>
          <ac:spMkLst>
            <pc:docMk/>
            <pc:sldMk cId="3655917864" sldId="435"/>
            <ac:spMk id="4" creationId="{FBBD2C0E-348F-9069-AF42-D59E5AE9790B}"/>
          </ac:spMkLst>
        </pc:spChg>
        <pc:picChg chg="add del mod">
          <ac:chgData name="Koen Verbeeck" userId="24d0e79a7fd977da" providerId="LiveId" clId="{BA5CD2F8-66DA-43DE-8187-1C492E55A66A}" dt="2023-10-16T11:17:10.707" v="765" actId="478"/>
          <ac:picMkLst>
            <pc:docMk/>
            <pc:sldMk cId="3655917864" sldId="435"/>
            <ac:picMk id="5" creationId="{6E74CC57-BA13-C4C2-47C8-073001817B0D}"/>
          </ac:picMkLst>
        </pc:picChg>
        <pc:picChg chg="add mod">
          <ac:chgData name="Koen Verbeeck" userId="24d0e79a7fd977da" providerId="LiveId" clId="{BA5CD2F8-66DA-43DE-8187-1C492E55A66A}" dt="2023-10-16T11:17:16.425" v="766"/>
          <ac:picMkLst>
            <pc:docMk/>
            <pc:sldMk cId="3655917864" sldId="435"/>
            <ac:picMk id="6" creationId="{D7B68AE0-7994-F7EB-B326-B404953083D7}"/>
          </ac:picMkLst>
        </pc:picChg>
      </pc:sldChg>
      <pc:sldChg chg="new del">
        <pc:chgData name="Koen Verbeeck" userId="24d0e79a7fd977da" providerId="LiveId" clId="{BA5CD2F8-66DA-43DE-8187-1C492E55A66A}" dt="2023-10-16T11:17:42.999" v="786" actId="47"/>
        <pc:sldMkLst>
          <pc:docMk/>
          <pc:sldMk cId="2127549568" sldId="436"/>
        </pc:sldMkLst>
      </pc:sldChg>
      <pc:sldChg chg="addSp delSp modSp add mod">
        <pc:chgData name="Koen Verbeeck" userId="24d0e79a7fd977da" providerId="LiveId" clId="{BA5CD2F8-66DA-43DE-8187-1C492E55A66A}" dt="2023-10-16T11:18:06.012" v="830" actId="1036"/>
        <pc:sldMkLst>
          <pc:docMk/>
          <pc:sldMk cId="3061463071" sldId="437"/>
        </pc:sldMkLst>
        <pc:spChg chg="mod">
          <ac:chgData name="Koen Verbeeck" userId="24d0e79a7fd977da" providerId="LiveId" clId="{BA5CD2F8-66DA-43DE-8187-1C492E55A66A}" dt="2023-10-16T11:17:50.740" v="814" actId="20577"/>
          <ac:spMkLst>
            <pc:docMk/>
            <pc:sldMk cId="3061463071" sldId="437"/>
            <ac:spMk id="4" creationId="{FBBD2C0E-348F-9069-AF42-D59E5AE9790B}"/>
          </ac:spMkLst>
        </pc:spChg>
        <pc:picChg chg="add mod">
          <ac:chgData name="Koen Verbeeck" userId="24d0e79a7fd977da" providerId="LiveId" clId="{BA5CD2F8-66DA-43DE-8187-1C492E55A66A}" dt="2023-10-16T11:18:06.012" v="830" actId="1036"/>
          <ac:picMkLst>
            <pc:docMk/>
            <pc:sldMk cId="3061463071" sldId="437"/>
            <ac:picMk id="2" creationId="{43BD4350-2397-FCF1-8455-E23661BC094C}"/>
          </ac:picMkLst>
        </pc:picChg>
        <pc:picChg chg="del">
          <ac:chgData name="Koen Verbeeck" userId="24d0e79a7fd977da" providerId="LiveId" clId="{BA5CD2F8-66DA-43DE-8187-1C492E55A66A}" dt="2023-10-16T11:17:52.284" v="815" actId="478"/>
          <ac:picMkLst>
            <pc:docMk/>
            <pc:sldMk cId="3061463071" sldId="437"/>
            <ac:picMk id="6" creationId="{D7B68AE0-7994-F7EB-B326-B404953083D7}"/>
          </ac:picMkLst>
        </pc:picChg>
      </pc:sldChg>
      <pc:sldChg chg="modSp add mod">
        <pc:chgData name="Koen Verbeeck" userId="24d0e79a7fd977da" providerId="LiveId" clId="{BA5CD2F8-66DA-43DE-8187-1C492E55A66A}" dt="2023-10-16T11:18:53.109" v="854" actId="20577"/>
        <pc:sldMkLst>
          <pc:docMk/>
          <pc:sldMk cId="4211441043" sldId="438"/>
        </pc:sldMkLst>
        <pc:spChg chg="mod">
          <ac:chgData name="Koen Verbeeck" userId="24d0e79a7fd977da" providerId="LiveId" clId="{BA5CD2F8-66DA-43DE-8187-1C492E55A66A}" dt="2023-10-16T11:18:53.109" v="854" actId="20577"/>
          <ac:spMkLst>
            <pc:docMk/>
            <pc:sldMk cId="4211441043" sldId="438"/>
            <ac:spMk id="4" creationId="{BA66A9FB-463B-9E25-ED20-D36959E12FD0}"/>
          </ac:spMkLst>
        </pc:spChg>
      </pc:sldChg>
      <pc:sldChg chg="addSp delSp modSp new mod modClrScheme chgLayout">
        <pc:chgData name="Koen Verbeeck" userId="24d0e79a7fd977da" providerId="LiveId" clId="{BA5CD2F8-66DA-43DE-8187-1C492E55A66A}" dt="2023-10-16T11:22:31.128" v="861" actId="1076"/>
        <pc:sldMkLst>
          <pc:docMk/>
          <pc:sldMk cId="1273325707" sldId="439"/>
        </pc:sldMkLst>
        <pc:spChg chg="del mod ord">
          <ac:chgData name="Koen Verbeeck" userId="24d0e79a7fd977da" providerId="LiveId" clId="{BA5CD2F8-66DA-43DE-8187-1C492E55A66A}" dt="2023-10-16T11:22:22.178" v="856" actId="700"/>
          <ac:spMkLst>
            <pc:docMk/>
            <pc:sldMk cId="1273325707" sldId="439"/>
            <ac:spMk id="2" creationId="{AD631DB4-E794-9EEF-48C9-45AC55C74C5D}"/>
          </ac:spMkLst>
        </pc:spChg>
        <pc:spChg chg="del">
          <ac:chgData name="Koen Verbeeck" userId="24d0e79a7fd977da" providerId="LiveId" clId="{BA5CD2F8-66DA-43DE-8187-1C492E55A66A}" dt="2023-10-16T11:22:22.178" v="856" actId="700"/>
          <ac:spMkLst>
            <pc:docMk/>
            <pc:sldMk cId="1273325707" sldId="439"/>
            <ac:spMk id="3" creationId="{FE7C4E44-3885-A73C-A80E-A6C6016D8AF8}"/>
          </ac:spMkLst>
        </pc:spChg>
        <pc:spChg chg="add del mod ord">
          <ac:chgData name="Koen Verbeeck" userId="24d0e79a7fd977da" providerId="LiveId" clId="{BA5CD2F8-66DA-43DE-8187-1C492E55A66A}" dt="2023-10-16T11:22:23.934" v="857" actId="478"/>
          <ac:spMkLst>
            <pc:docMk/>
            <pc:sldMk cId="1273325707" sldId="439"/>
            <ac:spMk id="4" creationId="{C99D6B1D-4669-D289-385D-52AAC0422AEF}"/>
          </ac:spMkLst>
        </pc:spChg>
        <pc:spChg chg="mod">
          <ac:chgData name="Koen Verbeeck" userId="24d0e79a7fd977da" providerId="LiveId" clId="{BA5CD2F8-66DA-43DE-8187-1C492E55A66A}" dt="2023-10-16T11:22:24.627" v="858"/>
          <ac:spMkLst>
            <pc:docMk/>
            <pc:sldMk cId="1273325707" sldId="439"/>
            <ac:spMk id="6" creationId="{DD3EA9B4-57B7-74DA-49FE-60100725C2A0}"/>
          </ac:spMkLst>
        </pc:spChg>
        <pc:spChg chg="mod">
          <ac:chgData name="Koen Verbeeck" userId="24d0e79a7fd977da" providerId="LiveId" clId="{BA5CD2F8-66DA-43DE-8187-1C492E55A66A}" dt="2023-10-16T11:22:24.627" v="858"/>
          <ac:spMkLst>
            <pc:docMk/>
            <pc:sldMk cId="1273325707" sldId="439"/>
            <ac:spMk id="7" creationId="{2870CF88-5F22-0A9E-4D13-05EA1A903E7C}"/>
          </ac:spMkLst>
        </pc:spChg>
        <pc:spChg chg="mod">
          <ac:chgData name="Koen Verbeeck" userId="24d0e79a7fd977da" providerId="LiveId" clId="{BA5CD2F8-66DA-43DE-8187-1C492E55A66A}" dt="2023-10-16T11:22:24.627" v="858"/>
          <ac:spMkLst>
            <pc:docMk/>
            <pc:sldMk cId="1273325707" sldId="439"/>
            <ac:spMk id="9" creationId="{2A0E42FF-FD0D-C3DF-1170-F989BEE638FA}"/>
          </ac:spMkLst>
        </pc:spChg>
        <pc:spChg chg="mod">
          <ac:chgData name="Koen Verbeeck" userId="24d0e79a7fd977da" providerId="LiveId" clId="{BA5CD2F8-66DA-43DE-8187-1C492E55A66A}" dt="2023-10-16T11:22:24.627" v="858"/>
          <ac:spMkLst>
            <pc:docMk/>
            <pc:sldMk cId="1273325707" sldId="439"/>
            <ac:spMk id="10" creationId="{4611F446-8077-DD35-39EE-3DF93B2E8571}"/>
          </ac:spMkLst>
        </pc:spChg>
        <pc:spChg chg="add del mod">
          <ac:chgData name="Koen Verbeeck" userId="24d0e79a7fd977da" providerId="LiveId" clId="{BA5CD2F8-66DA-43DE-8187-1C492E55A66A}" dt="2023-10-16T11:22:27.019" v="859"/>
          <ac:spMkLst>
            <pc:docMk/>
            <pc:sldMk cId="1273325707" sldId="439"/>
            <ac:spMk id="11" creationId="{79338110-A872-247B-1702-E1B4615E07C2}"/>
          </ac:spMkLst>
        </pc:spChg>
        <pc:spChg chg="add del mod">
          <ac:chgData name="Koen Verbeeck" userId="24d0e79a7fd977da" providerId="LiveId" clId="{BA5CD2F8-66DA-43DE-8187-1C492E55A66A}" dt="2023-10-16T11:22:27.019" v="859"/>
          <ac:spMkLst>
            <pc:docMk/>
            <pc:sldMk cId="1273325707" sldId="439"/>
            <ac:spMk id="14" creationId="{52AE2A43-9A4E-9D23-F309-13549B4AEF89}"/>
          </ac:spMkLst>
        </pc:spChg>
        <pc:spChg chg="add del mod">
          <ac:chgData name="Koen Verbeeck" userId="24d0e79a7fd977da" providerId="LiveId" clId="{BA5CD2F8-66DA-43DE-8187-1C492E55A66A}" dt="2023-10-16T11:22:27.019" v="859"/>
          <ac:spMkLst>
            <pc:docMk/>
            <pc:sldMk cId="1273325707" sldId="439"/>
            <ac:spMk id="15" creationId="{E9412A1A-1D92-520D-8425-CF667A77F98B}"/>
          </ac:spMkLst>
        </pc:spChg>
        <pc:spChg chg="add del mod">
          <ac:chgData name="Koen Verbeeck" userId="24d0e79a7fd977da" providerId="LiveId" clId="{BA5CD2F8-66DA-43DE-8187-1C492E55A66A}" dt="2023-10-16T11:22:27.019" v="859"/>
          <ac:spMkLst>
            <pc:docMk/>
            <pc:sldMk cId="1273325707" sldId="439"/>
            <ac:spMk id="16" creationId="{B51F1053-B4A3-96DC-393D-C01BFC944FA3}"/>
          </ac:spMkLst>
        </pc:spChg>
        <pc:spChg chg="add del mod">
          <ac:chgData name="Koen Verbeeck" userId="24d0e79a7fd977da" providerId="LiveId" clId="{BA5CD2F8-66DA-43DE-8187-1C492E55A66A}" dt="2023-10-16T11:22:27.019" v="859"/>
          <ac:spMkLst>
            <pc:docMk/>
            <pc:sldMk cId="1273325707" sldId="439"/>
            <ac:spMk id="17" creationId="{3FF4102C-8045-E882-D985-2EDBD9D685D4}"/>
          </ac:spMkLst>
        </pc:spChg>
        <pc:spChg chg="add del mod">
          <ac:chgData name="Koen Verbeeck" userId="24d0e79a7fd977da" providerId="LiveId" clId="{BA5CD2F8-66DA-43DE-8187-1C492E55A66A}" dt="2023-10-16T11:22:27.019" v="859"/>
          <ac:spMkLst>
            <pc:docMk/>
            <pc:sldMk cId="1273325707" sldId="439"/>
            <ac:spMk id="18" creationId="{A9734325-1379-D05E-2684-F2A3E324EB89}"/>
          </ac:spMkLst>
        </pc:spChg>
        <pc:spChg chg="mod">
          <ac:chgData name="Koen Verbeeck" userId="24d0e79a7fd977da" providerId="LiveId" clId="{BA5CD2F8-66DA-43DE-8187-1C492E55A66A}" dt="2023-10-16T11:22:27.030" v="860"/>
          <ac:spMkLst>
            <pc:docMk/>
            <pc:sldMk cId="1273325707" sldId="439"/>
            <ac:spMk id="20" creationId="{21F521BE-4D88-EDF5-07AF-31A4A67972C3}"/>
          </ac:spMkLst>
        </pc:spChg>
        <pc:spChg chg="mod">
          <ac:chgData name="Koen Verbeeck" userId="24d0e79a7fd977da" providerId="LiveId" clId="{BA5CD2F8-66DA-43DE-8187-1C492E55A66A}" dt="2023-10-16T11:22:27.030" v="860"/>
          <ac:spMkLst>
            <pc:docMk/>
            <pc:sldMk cId="1273325707" sldId="439"/>
            <ac:spMk id="21" creationId="{16D46C30-405E-AF16-9611-7C1CA1742855}"/>
          </ac:spMkLst>
        </pc:spChg>
        <pc:spChg chg="mod">
          <ac:chgData name="Koen Verbeeck" userId="24d0e79a7fd977da" providerId="LiveId" clId="{BA5CD2F8-66DA-43DE-8187-1C492E55A66A}" dt="2023-10-16T11:22:27.030" v="860"/>
          <ac:spMkLst>
            <pc:docMk/>
            <pc:sldMk cId="1273325707" sldId="439"/>
            <ac:spMk id="23" creationId="{189481C6-7C51-BFD2-F097-B23076326B1D}"/>
          </ac:spMkLst>
        </pc:spChg>
        <pc:spChg chg="mod">
          <ac:chgData name="Koen Verbeeck" userId="24d0e79a7fd977da" providerId="LiveId" clId="{BA5CD2F8-66DA-43DE-8187-1C492E55A66A}" dt="2023-10-16T11:22:27.030" v="860"/>
          <ac:spMkLst>
            <pc:docMk/>
            <pc:sldMk cId="1273325707" sldId="439"/>
            <ac:spMk id="24" creationId="{CA9D9CFC-C587-DA2D-7BDD-62073ADB1650}"/>
          </ac:spMkLst>
        </pc:spChg>
        <pc:spChg chg="add mod">
          <ac:chgData name="Koen Verbeeck" userId="24d0e79a7fd977da" providerId="LiveId" clId="{BA5CD2F8-66DA-43DE-8187-1C492E55A66A}" dt="2023-10-16T11:22:31.128" v="861" actId="1076"/>
          <ac:spMkLst>
            <pc:docMk/>
            <pc:sldMk cId="1273325707" sldId="439"/>
            <ac:spMk id="25" creationId="{C2AE0016-8669-0758-50B7-B02B8F6F2A1B}"/>
          </ac:spMkLst>
        </pc:spChg>
        <pc:spChg chg="add mod">
          <ac:chgData name="Koen Verbeeck" userId="24d0e79a7fd977da" providerId="LiveId" clId="{BA5CD2F8-66DA-43DE-8187-1C492E55A66A}" dt="2023-10-16T11:22:31.128" v="861" actId="1076"/>
          <ac:spMkLst>
            <pc:docMk/>
            <pc:sldMk cId="1273325707" sldId="439"/>
            <ac:spMk id="28" creationId="{AEC3CB98-979B-2867-72FC-E12813C5C15E}"/>
          </ac:spMkLst>
        </pc:spChg>
        <pc:spChg chg="add mod">
          <ac:chgData name="Koen Verbeeck" userId="24d0e79a7fd977da" providerId="LiveId" clId="{BA5CD2F8-66DA-43DE-8187-1C492E55A66A}" dt="2023-10-16T11:22:31.128" v="861" actId="1076"/>
          <ac:spMkLst>
            <pc:docMk/>
            <pc:sldMk cId="1273325707" sldId="439"/>
            <ac:spMk id="29" creationId="{0B517D5E-454D-A740-C812-CBC85E042129}"/>
          </ac:spMkLst>
        </pc:spChg>
        <pc:spChg chg="add mod">
          <ac:chgData name="Koen Verbeeck" userId="24d0e79a7fd977da" providerId="LiveId" clId="{BA5CD2F8-66DA-43DE-8187-1C492E55A66A}" dt="2023-10-16T11:22:31.128" v="861" actId="1076"/>
          <ac:spMkLst>
            <pc:docMk/>
            <pc:sldMk cId="1273325707" sldId="439"/>
            <ac:spMk id="30" creationId="{D64CCE2D-F40E-5CF3-CC65-EB713F55DB88}"/>
          </ac:spMkLst>
        </pc:spChg>
        <pc:spChg chg="add mod">
          <ac:chgData name="Koen Verbeeck" userId="24d0e79a7fd977da" providerId="LiveId" clId="{BA5CD2F8-66DA-43DE-8187-1C492E55A66A}" dt="2023-10-16T11:22:31.128" v="861" actId="1076"/>
          <ac:spMkLst>
            <pc:docMk/>
            <pc:sldMk cId="1273325707" sldId="439"/>
            <ac:spMk id="31" creationId="{ABD71BE7-408A-5669-454C-47289BC16C43}"/>
          </ac:spMkLst>
        </pc:spChg>
        <pc:spChg chg="add mod">
          <ac:chgData name="Koen Verbeeck" userId="24d0e79a7fd977da" providerId="LiveId" clId="{BA5CD2F8-66DA-43DE-8187-1C492E55A66A}" dt="2023-10-16T11:22:31.128" v="861" actId="1076"/>
          <ac:spMkLst>
            <pc:docMk/>
            <pc:sldMk cId="1273325707" sldId="439"/>
            <ac:spMk id="32" creationId="{74515131-07EB-C829-970B-6F252BB444A9}"/>
          </ac:spMkLst>
        </pc:spChg>
        <pc:grpChg chg="add del mod">
          <ac:chgData name="Koen Verbeeck" userId="24d0e79a7fd977da" providerId="LiveId" clId="{BA5CD2F8-66DA-43DE-8187-1C492E55A66A}" dt="2023-10-16T11:22:27.019" v="859"/>
          <ac:grpSpMkLst>
            <pc:docMk/>
            <pc:sldMk cId="1273325707" sldId="439"/>
            <ac:grpSpMk id="5" creationId="{8D58B9C1-C993-0CE9-57D1-8BBD8E42D982}"/>
          </ac:grpSpMkLst>
        </pc:grpChg>
        <pc:grpChg chg="add del mod">
          <ac:chgData name="Koen Verbeeck" userId="24d0e79a7fd977da" providerId="LiveId" clId="{BA5CD2F8-66DA-43DE-8187-1C492E55A66A}" dt="2023-10-16T11:22:27.019" v="859"/>
          <ac:grpSpMkLst>
            <pc:docMk/>
            <pc:sldMk cId="1273325707" sldId="439"/>
            <ac:grpSpMk id="8" creationId="{3CC8ED37-9141-417F-A5E8-C22DD46318F6}"/>
          </ac:grpSpMkLst>
        </pc:grpChg>
        <pc:grpChg chg="add mod">
          <ac:chgData name="Koen Verbeeck" userId="24d0e79a7fd977da" providerId="LiveId" clId="{BA5CD2F8-66DA-43DE-8187-1C492E55A66A}" dt="2023-10-16T11:22:31.128" v="861" actId="1076"/>
          <ac:grpSpMkLst>
            <pc:docMk/>
            <pc:sldMk cId="1273325707" sldId="439"/>
            <ac:grpSpMk id="19" creationId="{C5946026-8AB4-BD94-A9BB-92BC7DCFB8CE}"/>
          </ac:grpSpMkLst>
        </pc:grpChg>
        <pc:grpChg chg="add mod">
          <ac:chgData name="Koen Verbeeck" userId="24d0e79a7fd977da" providerId="LiveId" clId="{BA5CD2F8-66DA-43DE-8187-1C492E55A66A}" dt="2023-10-16T11:22:31.128" v="861" actId="1076"/>
          <ac:grpSpMkLst>
            <pc:docMk/>
            <pc:sldMk cId="1273325707" sldId="439"/>
            <ac:grpSpMk id="22" creationId="{831FB964-0F38-42A8-1EAC-90D5F84866E5}"/>
          </ac:grpSpMkLst>
        </pc:grpChg>
        <pc:picChg chg="add del mod">
          <ac:chgData name="Koen Verbeeck" userId="24d0e79a7fd977da" providerId="LiveId" clId="{BA5CD2F8-66DA-43DE-8187-1C492E55A66A}" dt="2023-10-16T11:22:27.019" v="859"/>
          <ac:picMkLst>
            <pc:docMk/>
            <pc:sldMk cId="1273325707" sldId="439"/>
            <ac:picMk id="12" creationId="{6DB08776-DDC7-AA9A-E5A1-F99488E6CB09}"/>
          </ac:picMkLst>
        </pc:picChg>
        <pc:picChg chg="add del mod">
          <ac:chgData name="Koen Verbeeck" userId="24d0e79a7fd977da" providerId="LiveId" clId="{BA5CD2F8-66DA-43DE-8187-1C492E55A66A}" dt="2023-10-16T11:22:27.019" v="859"/>
          <ac:picMkLst>
            <pc:docMk/>
            <pc:sldMk cId="1273325707" sldId="439"/>
            <ac:picMk id="13" creationId="{ED45DE6E-7D2C-06CA-8C92-850D1A32996F}"/>
          </ac:picMkLst>
        </pc:picChg>
        <pc:picChg chg="add mod">
          <ac:chgData name="Koen Verbeeck" userId="24d0e79a7fd977da" providerId="LiveId" clId="{BA5CD2F8-66DA-43DE-8187-1C492E55A66A}" dt="2023-10-16T11:22:31.128" v="861" actId="1076"/>
          <ac:picMkLst>
            <pc:docMk/>
            <pc:sldMk cId="1273325707" sldId="439"/>
            <ac:picMk id="26" creationId="{56CC0017-E9AF-66E7-B4C7-3E8C74E7134B}"/>
          </ac:picMkLst>
        </pc:picChg>
        <pc:picChg chg="add mod">
          <ac:chgData name="Koen Verbeeck" userId="24d0e79a7fd977da" providerId="LiveId" clId="{BA5CD2F8-66DA-43DE-8187-1C492E55A66A}" dt="2023-10-16T11:22:31.128" v="861" actId="1076"/>
          <ac:picMkLst>
            <pc:docMk/>
            <pc:sldMk cId="1273325707" sldId="439"/>
            <ac:picMk id="27" creationId="{5E8E3901-7B74-E5AC-F27B-32536858B30F}"/>
          </ac:picMkLst>
        </pc:picChg>
      </pc:sldChg>
      <pc:sldChg chg="addSp delSp modSp new mod modAnim">
        <pc:chgData name="Koen Verbeeck" userId="24d0e79a7fd977da" providerId="LiveId" clId="{BA5CD2F8-66DA-43DE-8187-1C492E55A66A}" dt="2023-10-16T11:29:21.173" v="872"/>
        <pc:sldMkLst>
          <pc:docMk/>
          <pc:sldMk cId="656499946" sldId="440"/>
        </pc:sldMkLst>
        <pc:picChg chg="add mod">
          <ac:chgData name="Koen Verbeeck" userId="24d0e79a7fd977da" providerId="LiveId" clId="{BA5CD2F8-66DA-43DE-8187-1C492E55A66A}" dt="2023-10-16T11:28:26.290" v="864" actId="1076"/>
          <ac:picMkLst>
            <pc:docMk/>
            <pc:sldMk cId="656499946" sldId="440"/>
            <ac:picMk id="3" creationId="{4A01C7A1-2432-0A12-976C-FB5F8E8F233C}"/>
          </ac:picMkLst>
        </pc:picChg>
        <pc:picChg chg="add del mod">
          <ac:chgData name="Koen Verbeeck" userId="24d0e79a7fd977da" providerId="LiveId" clId="{BA5CD2F8-66DA-43DE-8187-1C492E55A66A}" dt="2023-10-16T11:29:21.173" v="872"/>
          <ac:picMkLst>
            <pc:docMk/>
            <pc:sldMk cId="656499946" sldId="440"/>
            <ac:picMk id="4" creationId="{D21D611F-214B-198F-A74D-385F56DDB548}"/>
          </ac:picMkLst>
        </pc:picChg>
      </pc:sldChg>
      <pc:sldChg chg="new del ord">
        <pc:chgData name="Koen Verbeeck" userId="24d0e79a7fd977da" providerId="LiveId" clId="{BA5CD2F8-66DA-43DE-8187-1C492E55A66A}" dt="2023-10-16T11:30:33.201" v="874" actId="47"/>
        <pc:sldMkLst>
          <pc:docMk/>
          <pc:sldMk cId="780284986" sldId="441"/>
        </pc:sldMkLst>
      </pc:sldChg>
      <pc:sldChg chg="modSp add mod">
        <pc:chgData name="Koen Verbeeck" userId="24d0e79a7fd977da" providerId="LiveId" clId="{BA5CD2F8-66DA-43DE-8187-1C492E55A66A}" dt="2023-10-16T11:29:21.261" v="873" actId="27636"/>
        <pc:sldMkLst>
          <pc:docMk/>
          <pc:sldMk cId="2412883882" sldId="2147479136"/>
        </pc:sldMkLst>
        <pc:spChg chg="mod">
          <ac:chgData name="Koen Verbeeck" userId="24d0e79a7fd977da" providerId="LiveId" clId="{BA5CD2F8-66DA-43DE-8187-1C492E55A66A}" dt="2023-10-16T11:29:21.261" v="873" actId="27636"/>
          <ac:spMkLst>
            <pc:docMk/>
            <pc:sldMk cId="2412883882" sldId="2147479136"/>
            <ac:spMk id="2" creationId="{6184066B-706E-9339-DFE5-0E0A4D7112FE}"/>
          </ac:spMkLst>
        </pc:spChg>
      </pc:sldChg>
      <pc:sldChg chg="new del">
        <pc:chgData name="Koen Verbeeck" userId="24d0e79a7fd977da" providerId="LiveId" clId="{BA5CD2F8-66DA-43DE-8187-1C492E55A66A}" dt="2023-10-16T11:33:33.384" v="935" actId="47"/>
        <pc:sldMkLst>
          <pc:docMk/>
          <pc:sldMk cId="460491064" sldId="2147479137"/>
        </pc:sldMkLst>
      </pc:sldChg>
      <pc:sldChg chg="addSp delSp modSp add mod">
        <pc:chgData name="Koen Verbeeck" userId="24d0e79a7fd977da" providerId="LiveId" clId="{BA5CD2F8-66DA-43DE-8187-1C492E55A66A}" dt="2023-10-16T11:33:18.589" v="934" actId="207"/>
        <pc:sldMkLst>
          <pc:docMk/>
          <pc:sldMk cId="1668452944" sldId="2147479138"/>
        </pc:sldMkLst>
        <pc:spChg chg="mod">
          <ac:chgData name="Koen Verbeeck" userId="24d0e79a7fd977da" providerId="LiveId" clId="{BA5CD2F8-66DA-43DE-8187-1C492E55A66A}" dt="2023-10-16T11:33:18.589" v="934" actId="207"/>
          <ac:spMkLst>
            <pc:docMk/>
            <pc:sldMk cId="1668452944" sldId="2147479138"/>
            <ac:spMk id="13" creationId="{0A925C7F-DC41-244E-985A-B5DACDDC487B}"/>
          </ac:spMkLst>
        </pc:spChg>
        <pc:picChg chg="add del mod">
          <ac:chgData name="Koen Verbeeck" userId="24d0e79a7fd977da" providerId="LiveId" clId="{BA5CD2F8-66DA-43DE-8187-1C492E55A66A}" dt="2023-10-16T11:32:32.059" v="921" actId="478"/>
          <ac:picMkLst>
            <pc:docMk/>
            <pc:sldMk cId="1668452944" sldId="2147479138"/>
            <ac:picMk id="2050" creationId="{74B9C0DD-BBC1-D52A-568C-A5FF8324A45C}"/>
          </ac:picMkLst>
        </pc:picChg>
        <pc:picChg chg="add del mod">
          <ac:chgData name="Koen Verbeeck" userId="24d0e79a7fd977da" providerId="LiveId" clId="{BA5CD2F8-66DA-43DE-8187-1C492E55A66A}" dt="2023-10-16T11:32:58.262" v="929"/>
          <ac:picMkLst>
            <pc:docMk/>
            <pc:sldMk cId="1668452944" sldId="2147479138"/>
            <ac:picMk id="2052" creationId="{5D2D7AA5-C67A-4083-5F0D-F63A1111AB67}"/>
          </ac:picMkLst>
        </pc:picChg>
        <pc:picChg chg="add mod">
          <ac:chgData name="Koen Verbeeck" userId="24d0e79a7fd977da" providerId="LiveId" clId="{BA5CD2F8-66DA-43DE-8187-1C492E55A66A}" dt="2023-10-16T11:33:09.814" v="933" actId="167"/>
          <ac:picMkLst>
            <pc:docMk/>
            <pc:sldMk cId="1668452944" sldId="2147479138"/>
            <ac:picMk id="2054" creationId="{51CCD494-A779-0907-A82C-354355D939FE}"/>
          </ac:picMkLst>
        </pc:picChg>
      </pc:sldChg>
      <pc:sldChg chg="addSp delSp modSp new mod modAnim">
        <pc:chgData name="Koen Verbeeck" userId="24d0e79a7fd977da" providerId="LiveId" clId="{BA5CD2F8-66DA-43DE-8187-1C492E55A66A}" dt="2023-10-21T11:00:38.159" v="2455" actId="1076"/>
        <pc:sldMkLst>
          <pc:docMk/>
          <pc:sldMk cId="1981195702" sldId="2147479139"/>
        </pc:sldMkLst>
        <pc:spChg chg="del">
          <ac:chgData name="Koen Verbeeck" userId="24d0e79a7fd977da" providerId="LiveId" clId="{BA5CD2F8-66DA-43DE-8187-1C492E55A66A}" dt="2023-10-16T11:35:03.613" v="941" actId="478"/>
          <ac:spMkLst>
            <pc:docMk/>
            <pc:sldMk cId="1981195702" sldId="2147479139"/>
            <ac:spMk id="2" creationId="{44BB6AC2-7EB9-4331-788A-F93DD73740CD}"/>
          </ac:spMkLst>
        </pc:spChg>
        <pc:spChg chg="add mod">
          <ac:chgData name="Koen Verbeeck" userId="24d0e79a7fd977da" providerId="LiveId" clId="{BA5CD2F8-66DA-43DE-8187-1C492E55A66A}" dt="2023-10-21T11:00:38.159" v="2455" actId="1076"/>
          <ac:spMkLst>
            <pc:docMk/>
            <pc:sldMk cId="1981195702" sldId="2147479139"/>
            <ac:spMk id="5" creationId="{F2B0F802-2B44-82CB-6063-DB1B66D5F730}"/>
          </ac:spMkLst>
        </pc:spChg>
        <pc:spChg chg="add mod">
          <ac:chgData name="Koen Verbeeck" userId="24d0e79a7fd977da" providerId="LiveId" clId="{BA5CD2F8-66DA-43DE-8187-1C492E55A66A}" dt="2023-10-21T11:00:38.159" v="2455" actId="1076"/>
          <ac:spMkLst>
            <pc:docMk/>
            <pc:sldMk cId="1981195702" sldId="2147479139"/>
            <ac:spMk id="6" creationId="{D2211882-A4C2-57AB-1010-77C7EEFEC702}"/>
          </ac:spMkLst>
        </pc:spChg>
        <pc:spChg chg="add mod">
          <ac:chgData name="Koen Verbeeck" userId="24d0e79a7fd977da" providerId="LiveId" clId="{BA5CD2F8-66DA-43DE-8187-1C492E55A66A}" dt="2023-10-21T11:00:38.159" v="2455" actId="1076"/>
          <ac:spMkLst>
            <pc:docMk/>
            <pc:sldMk cId="1981195702" sldId="2147479139"/>
            <ac:spMk id="9" creationId="{3C359C71-914C-D52D-355C-6265DAFB79A8}"/>
          </ac:spMkLst>
        </pc:spChg>
        <pc:picChg chg="add mod">
          <ac:chgData name="Koen Verbeeck" userId="24d0e79a7fd977da" providerId="LiveId" clId="{BA5CD2F8-66DA-43DE-8187-1C492E55A66A}" dt="2023-10-21T11:00:38.159" v="2455" actId="1076"/>
          <ac:picMkLst>
            <pc:docMk/>
            <pc:sldMk cId="1981195702" sldId="2147479139"/>
            <ac:picMk id="4" creationId="{592BD1A1-8C1B-51D8-D671-F340DAEA1388}"/>
          </ac:picMkLst>
        </pc:picChg>
        <pc:picChg chg="add mod">
          <ac:chgData name="Koen Verbeeck" userId="24d0e79a7fd977da" providerId="LiveId" clId="{BA5CD2F8-66DA-43DE-8187-1C492E55A66A}" dt="2023-10-21T11:00:38.159" v="2455" actId="1076"/>
          <ac:picMkLst>
            <pc:docMk/>
            <pc:sldMk cId="1981195702" sldId="2147479139"/>
            <ac:picMk id="8" creationId="{9C7CA145-6B21-02D7-AEB5-ECA94E78600A}"/>
          </ac:picMkLst>
        </pc:picChg>
        <pc:picChg chg="add del mod">
          <ac:chgData name="Koen Verbeeck" userId="24d0e79a7fd977da" providerId="LiveId" clId="{BA5CD2F8-66DA-43DE-8187-1C492E55A66A}" dt="2023-10-16T11:38:19.483" v="970" actId="478"/>
          <ac:picMkLst>
            <pc:docMk/>
            <pc:sldMk cId="1981195702" sldId="2147479139"/>
            <ac:picMk id="11" creationId="{0A7FD10F-5203-3DCE-F4FF-07FBA8E6A684}"/>
          </ac:picMkLst>
        </pc:picChg>
        <pc:picChg chg="add mod">
          <ac:chgData name="Koen Verbeeck" userId="24d0e79a7fd977da" providerId="LiveId" clId="{BA5CD2F8-66DA-43DE-8187-1C492E55A66A}" dt="2023-10-21T11:00:38.159" v="2455" actId="1076"/>
          <ac:picMkLst>
            <pc:docMk/>
            <pc:sldMk cId="1981195702" sldId="2147479139"/>
            <ac:picMk id="5122" creationId="{33FDA740-BD38-D730-29B0-77DC88EAE10B}"/>
          </ac:picMkLst>
        </pc:picChg>
      </pc:sldChg>
      <pc:sldChg chg="addSp delSp modSp new mod modClrScheme chgLayout">
        <pc:chgData name="Koen Verbeeck" userId="24d0e79a7fd977da" providerId="LiveId" clId="{BA5CD2F8-66DA-43DE-8187-1C492E55A66A}" dt="2023-10-16T11:53:17.453" v="978"/>
        <pc:sldMkLst>
          <pc:docMk/>
          <pc:sldMk cId="2888553981" sldId="2147479140"/>
        </pc:sldMkLst>
        <pc:spChg chg="del mod ord">
          <ac:chgData name="Koen Verbeeck" userId="24d0e79a7fd977da" providerId="LiveId" clId="{BA5CD2F8-66DA-43DE-8187-1C492E55A66A}" dt="2023-10-16T11:49:03.514" v="975" actId="700"/>
          <ac:spMkLst>
            <pc:docMk/>
            <pc:sldMk cId="2888553981" sldId="2147479140"/>
            <ac:spMk id="2" creationId="{958B128C-E023-86D8-759B-79DBB6492635}"/>
          </ac:spMkLst>
        </pc:spChg>
        <pc:spChg chg="del">
          <ac:chgData name="Koen Verbeeck" userId="24d0e79a7fd977da" providerId="LiveId" clId="{BA5CD2F8-66DA-43DE-8187-1C492E55A66A}" dt="2023-10-16T11:49:03.514" v="975" actId="700"/>
          <ac:spMkLst>
            <pc:docMk/>
            <pc:sldMk cId="2888553981" sldId="2147479140"/>
            <ac:spMk id="3" creationId="{2524A6DC-1DE5-2FC4-0319-102174FCF033}"/>
          </ac:spMkLst>
        </pc:spChg>
        <pc:spChg chg="add mod ord">
          <ac:chgData name="Koen Verbeeck" userId="24d0e79a7fd977da" providerId="LiveId" clId="{BA5CD2F8-66DA-43DE-8187-1C492E55A66A}" dt="2023-10-16T11:49:03.514" v="975" actId="700"/>
          <ac:spMkLst>
            <pc:docMk/>
            <pc:sldMk cId="2888553981" sldId="2147479140"/>
            <ac:spMk id="4" creationId="{36D555AA-2925-A826-289E-2B0AAE799BC0}"/>
          </ac:spMkLst>
        </pc:spChg>
        <pc:spChg chg="mod">
          <ac:chgData name="Koen Verbeeck" userId="24d0e79a7fd977da" providerId="LiveId" clId="{BA5CD2F8-66DA-43DE-8187-1C492E55A66A}" dt="2023-10-16T11:53:14.026" v="976"/>
          <ac:spMkLst>
            <pc:docMk/>
            <pc:sldMk cId="2888553981" sldId="2147479140"/>
            <ac:spMk id="6" creationId="{5A12940F-2526-6379-65E0-C8826555809B}"/>
          </ac:spMkLst>
        </pc:spChg>
        <pc:spChg chg="mod">
          <ac:chgData name="Koen Verbeeck" userId="24d0e79a7fd977da" providerId="LiveId" clId="{BA5CD2F8-66DA-43DE-8187-1C492E55A66A}" dt="2023-10-16T11:53:14.026" v="976"/>
          <ac:spMkLst>
            <pc:docMk/>
            <pc:sldMk cId="2888553981" sldId="2147479140"/>
            <ac:spMk id="7" creationId="{A5E0FEC0-7CD5-E769-099E-38E102868692}"/>
          </ac:spMkLst>
        </pc:spChg>
        <pc:spChg chg="mod">
          <ac:chgData name="Koen Verbeeck" userId="24d0e79a7fd977da" providerId="LiveId" clId="{BA5CD2F8-66DA-43DE-8187-1C492E55A66A}" dt="2023-10-16T11:53:14.026" v="976"/>
          <ac:spMkLst>
            <pc:docMk/>
            <pc:sldMk cId="2888553981" sldId="2147479140"/>
            <ac:spMk id="9" creationId="{A05B43F4-D7FA-E401-2E38-2CA657406D97}"/>
          </ac:spMkLst>
        </pc:spChg>
        <pc:spChg chg="mod">
          <ac:chgData name="Koen Verbeeck" userId="24d0e79a7fd977da" providerId="LiveId" clId="{BA5CD2F8-66DA-43DE-8187-1C492E55A66A}" dt="2023-10-16T11:53:14.026" v="976"/>
          <ac:spMkLst>
            <pc:docMk/>
            <pc:sldMk cId="2888553981" sldId="2147479140"/>
            <ac:spMk id="10" creationId="{6492768C-9689-3A71-F1AA-00984D47265E}"/>
          </ac:spMkLst>
        </pc:spChg>
        <pc:spChg chg="mod">
          <ac:chgData name="Koen Verbeeck" userId="24d0e79a7fd977da" providerId="LiveId" clId="{BA5CD2F8-66DA-43DE-8187-1C492E55A66A}" dt="2023-10-16T11:53:14.026" v="976"/>
          <ac:spMkLst>
            <pc:docMk/>
            <pc:sldMk cId="2888553981" sldId="2147479140"/>
            <ac:spMk id="12" creationId="{CD45E182-D154-7FAC-E475-337853D3C96F}"/>
          </ac:spMkLst>
        </pc:spChg>
        <pc:spChg chg="mod">
          <ac:chgData name="Koen Verbeeck" userId="24d0e79a7fd977da" providerId="LiveId" clId="{BA5CD2F8-66DA-43DE-8187-1C492E55A66A}" dt="2023-10-16T11:53:14.026" v="976"/>
          <ac:spMkLst>
            <pc:docMk/>
            <pc:sldMk cId="2888553981" sldId="2147479140"/>
            <ac:spMk id="13" creationId="{E6EDC67E-D067-768A-CDF2-4F27FE82BC5F}"/>
          </ac:spMkLst>
        </pc:spChg>
        <pc:spChg chg="mod">
          <ac:chgData name="Koen Verbeeck" userId="24d0e79a7fd977da" providerId="LiveId" clId="{BA5CD2F8-66DA-43DE-8187-1C492E55A66A}" dt="2023-10-16T11:53:14.026" v="976"/>
          <ac:spMkLst>
            <pc:docMk/>
            <pc:sldMk cId="2888553981" sldId="2147479140"/>
            <ac:spMk id="15" creationId="{55971C0F-9A8D-03CD-6D20-9022F78C6072}"/>
          </ac:spMkLst>
        </pc:spChg>
        <pc:spChg chg="mod">
          <ac:chgData name="Koen Verbeeck" userId="24d0e79a7fd977da" providerId="LiveId" clId="{BA5CD2F8-66DA-43DE-8187-1C492E55A66A}" dt="2023-10-16T11:53:14.026" v="976"/>
          <ac:spMkLst>
            <pc:docMk/>
            <pc:sldMk cId="2888553981" sldId="2147479140"/>
            <ac:spMk id="16" creationId="{EF6D2FDB-C514-2301-FDE9-CB03F40BBA4E}"/>
          </ac:spMkLst>
        </pc:spChg>
        <pc:spChg chg="add del mod">
          <ac:chgData name="Koen Verbeeck" userId="24d0e79a7fd977da" providerId="LiveId" clId="{BA5CD2F8-66DA-43DE-8187-1C492E55A66A}" dt="2023-10-16T11:53:17.445" v="977"/>
          <ac:spMkLst>
            <pc:docMk/>
            <pc:sldMk cId="2888553981" sldId="2147479140"/>
            <ac:spMk id="18" creationId="{A751578C-9DD9-3BDF-8EFC-254C5852153C}"/>
          </ac:spMkLst>
        </pc:spChg>
        <pc:spChg chg="add del mod">
          <ac:chgData name="Koen Verbeeck" userId="24d0e79a7fd977da" providerId="LiveId" clId="{BA5CD2F8-66DA-43DE-8187-1C492E55A66A}" dt="2023-10-16T11:53:17.445" v="977"/>
          <ac:spMkLst>
            <pc:docMk/>
            <pc:sldMk cId="2888553981" sldId="2147479140"/>
            <ac:spMk id="20" creationId="{610C4681-BD6C-02F3-C242-A9AB363A4DB3}"/>
          </ac:spMkLst>
        </pc:spChg>
        <pc:spChg chg="mod">
          <ac:chgData name="Koen Verbeeck" userId="24d0e79a7fd977da" providerId="LiveId" clId="{BA5CD2F8-66DA-43DE-8187-1C492E55A66A}" dt="2023-10-16T11:53:17.453" v="978"/>
          <ac:spMkLst>
            <pc:docMk/>
            <pc:sldMk cId="2888553981" sldId="2147479140"/>
            <ac:spMk id="26" creationId="{F221C5D4-1F6E-581E-ADEB-4E9A7A285F1B}"/>
          </ac:spMkLst>
        </pc:spChg>
        <pc:spChg chg="mod">
          <ac:chgData name="Koen Verbeeck" userId="24d0e79a7fd977da" providerId="LiveId" clId="{BA5CD2F8-66DA-43DE-8187-1C492E55A66A}" dt="2023-10-16T11:53:17.453" v="978"/>
          <ac:spMkLst>
            <pc:docMk/>
            <pc:sldMk cId="2888553981" sldId="2147479140"/>
            <ac:spMk id="27" creationId="{81A77E89-702B-F1EE-BF8E-237632D376D4}"/>
          </ac:spMkLst>
        </pc:spChg>
        <pc:spChg chg="mod">
          <ac:chgData name="Koen Verbeeck" userId="24d0e79a7fd977da" providerId="LiveId" clId="{BA5CD2F8-66DA-43DE-8187-1C492E55A66A}" dt="2023-10-16T11:53:17.453" v="978"/>
          <ac:spMkLst>
            <pc:docMk/>
            <pc:sldMk cId="2888553981" sldId="2147479140"/>
            <ac:spMk id="29" creationId="{B7327DBB-3903-1CA3-F915-1DA9389E5AE6}"/>
          </ac:spMkLst>
        </pc:spChg>
        <pc:spChg chg="mod">
          <ac:chgData name="Koen Verbeeck" userId="24d0e79a7fd977da" providerId="LiveId" clId="{BA5CD2F8-66DA-43DE-8187-1C492E55A66A}" dt="2023-10-16T11:53:17.453" v="978"/>
          <ac:spMkLst>
            <pc:docMk/>
            <pc:sldMk cId="2888553981" sldId="2147479140"/>
            <ac:spMk id="30" creationId="{F18E89F5-C624-163D-028D-62E7B6AAF65F}"/>
          </ac:spMkLst>
        </pc:spChg>
        <pc:spChg chg="mod">
          <ac:chgData name="Koen Verbeeck" userId="24d0e79a7fd977da" providerId="LiveId" clId="{BA5CD2F8-66DA-43DE-8187-1C492E55A66A}" dt="2023-10-16T11:53:17.453" v="978"/>
          <ac:spMkLst>
            <pc:docMk/>
            <pc:sldMk cId="2888553981" sldId="2147479140"/>
            <ac:spMk id="32" creationId="{52A5287E-AD0D-B760-F1AD-AF06C2AB9EBD}"/>
          </ac:spMkLst>
        </pc:spChg>
        <pc:spChg chg="mod">
          <ac:chgData name="Koen Verbeeck" userId="24d0e79a7fd977da" providerId="LiveId" clId="{BA5CD2F8-66DA-43DE-8187-1C492E55A66A}" dt="2023-10-16T11:53:17.453" v="978"/>
          <ac:spMkLst>
            <pc:docMk/>
            <pc:sldMk cId="2888553981" sldId="2147479140"/>
            <ac:spMk id="33" creationId="{3C43A897-8393-5B23-E8A2-D289BC02A38D}"/>
          </ac:spMkLst>
        </pc:spChg>
        <pc:spChg chg="mod">
          <ac:chgData name="Koen Verbeeck" userId="24d0e79a7fd977da" providerId="LiveId" clId="{BA5CD2F8-66DA-43DE-8187-1C492E55A66A}" dt="2023-10-16T11:53:17.453" v="978"/>
          <ac:spMkLst>
            <pc:docMk/>
            <pc:sldMk cId="2888553981" sldId="2147479140"/>
            <ac:spMk id="35" creationId="{29B78CD9-8DF1-4C44-6DCE-7212E842364C}"/>
          </ac:spMkLst>
        </pc:spChg>
        <pc:spChg chg="mod">
          <ac:chgData name="Koen Verbeeck" userId="24d0e79a7fd977da" providerId="LiveId" clId="{BA5CD2F8-66DA-43DE-8187-1C492E55A66A}" dt="2023-10-16T11:53:17.453" v="978"/>
          <ac:spMkLst>
            <pc:docMk/>
            <pc:sldMk cId="2888553981" sldId="2147479140"/>
            <ac:spMk id="36" creationId="{40DD254E-3A0A-6356-22C2-B632CD15D990}"/>
          </ac:spMkLst>
        </pc:spChg>
        <pc:spChg chg="add mod">
          <ac:chgData name="Koen Verbeeck" userId="24d0e79a7fd977da" providerId="LiveId" clId="{BA5CD2F8-66DA-43DE-8187-1C492E55A66A}" dt="2023-10-16T11:53:17.453" v="978"/>
          <ac:spMkLst>
            <pc:docMk/>
            <pc:sldMk cId="2888553981" sldId="2147479140"/>
            <ac:spMk id="38" creationId="{826198DD-78BB-8515-2F79-9AEE022B29C4}"/>
          </ac:spMkLst>
        </pc:spChg>
        <pc:spChg chg="add mod">
          <ac:chgData name="Koen Verbeeck" userId="24d0e79a7fd977da" providerId="LiveId" clId="{BA5CD2F8-66DA-43DE-8187-1C492E55A66A}" dt="2023-10-16T11:53:17.453" v="978"/>
          <ac:spMkLst>
            <pc:docMk/>
            <pc:sldMk cId="2888553981" sldId="2147479140"/>
            <ac:spMk id="40" creationId="{61780B53-8D5B-1D8C-E191-EDC361AE42D9}"/>
          </ac:spMkLst>
        </pc:spChg>
        <pc:grpChg chg="add del mod">
          <ac:chgData name="Koen Verbeeck" userId="24d0e79a7fd977da" providerId="LiveId" clId="{BA5CD2F8-66DA-43DE-8187-1C492E55A66A}" dt="2023-10-16T11:53:17.445" v="977"/>
          <ac:grpSpMkLst>
            <pc:docMk/>
            <pc:sldMk cId="2888553981" sldId="2147479140"/>
            <ac:grpSpMk id="5" creationId="{E56C2F6E-1A08-C742-5812-020A0CF1BA15}"/>
          </ac:grpSpMkLst>
        </pc:grpChg>
        <pc:grpChg chg="add del mod">
          <ac:chgData name="Koen Verbeeck" userId="24d0e79a7fd977da" providerId="LiveId" clId="{BA5CD2F8-66DA-43DE-8187-1C492E55A66A}" dt="2023-10-16T11:53:17.445" v="977"/>
          <ac:grpSpMkLst>
            <pc:docMk/>
            <pc:sldMk cId="2888553981" sldId="2147479140"/>
            <ac:grpSpMk id="8" creationId="{FA5ECFA8-7D59-225B-C508-532CA1A1DBA7}"/>
          </ac:grpSpMkLst>
        </pc:grpChg>
        <pc:grpChg chg="add del mod">
          <ac:chgData name="Koen Verbeeck" userId="24d0e79a7fd977da" providerId="LiveId" clId="{BA5CD2F8-66DA-43DE-8187-1C492E55A66A}" dt="2023-10-16T11:53:17.445" v="977"/>
          <ac:grpSpMkLst>
            <pc:docMk/>
            <pc:sldMk cId="2888553981" sldId="2147479140"/>
            <ac:grpSpMk id="11" creationId="{F6B82BC6-540D-842A-A60E-ED149BDEB6AC}"/>
          </ac:grpSpMkLst>
        </pc:grpChg>
        <pc:grpChg chg="add del mod">
          <ac:chgData name="Koen Verbeeck" userId="24d0e79a7fd977da" providerId="LiveId" clId="{BA5CD2F8-66DA-43DE-8187-1C492E55A66A}" dt="2023-10-16T11:53:17.445" v="977"/>
          <ac:grpSpMkLst>
            <pc:docMk/>
            <pc:sldMk cId="2888553981" sldId="2147479140"/>
            <ac:grpSpMk id="14" creationId="{78B27071-5316-12FF-433D-76FD2FF1910A}"/>
          </ac:grpSpMkLst>
        </pc:grpChg>
        <pc:grpChg chg="add mod">
          <ac:chgData name="Koen Verbeeck" userId="24d0e79a7fd977da" providerId="LiveId" clId="{BA5CD2F8-66DA-43DE-8187-1C492E55A66A}" dt="2023-10-16T11:53:17.453" v="978"/>
          <ac:grpSpMkLst>
            <pc:docMk/>
            <pc:sldMk cId="2888553981" sldId="2147479140"/>
            <ac:grpSpMk id="25" creationId="{72A1764D-4314-9FD9-6B16-D2EA3CA3CB35}"/>
          </ac:grpSpMkLst>
        </pc:grpChg>
        <pc:grpChg chg="add mod">
          <ac:chgData name="Koen Verbeeck" userId="24d0e79a7fd977da" providerId="LiveId" clId="{BA5CD2F8-66DA-43DE-8187-1C492E55A66A}" dt="2023-10-16T11:53:17.453" v="978"/>
          <ac:grpSpMkLst>
            <pc:docMk/>
            <pc:sldMk cId="2888553981" sldId="2147479140"/>
            <ac:grpSpMk id="28" creationId="{03CB20EF-F11F-8205-19A5-C48A2DF3B3AF}"/>
          </ac:grpSpMkLst>
        </pc:grpChg>
        <pc:grpChg chg="add mod">
          <ac:chgData name="Koen Verbeeck" userId="24d0e79a7fd977da" providerId="LiveId" clId="{BA5CD2F8-66DA-43DE-8187-1C492E55A66A}" dt="2023-10-16T11:53:17.453" v="978"/>
          <ac:grpSpMkLst>
            <pc:docMk/>
            <pc:sldMk cId="2888553981" sldId="2147479140"/>
            <ac:grpSpMk id="31" creationId="{1310ED3B-0E57-138C-E67B-5ED6649F3D37}"/>
          </ac:grpSpMkLst>
        </pc:grpChg>
        <pc:grpChg chg="add mod">
          <ac:chgData name="Koen Verbeeck" userId="24d0e79a7fd977da" providerId="LiveId" clId="{BA5CD2F8-66DA-43DE-8187-1C492E55A66A}" dt="2023-10-16T11:53:17.453" v="978"/>
          <ac:grpSpMkLst>
            <pc:docMk/>
            <pc:sldMk cId="2888553981" sldId="2147479140"/>
            <ac:grpSpMk id="34" creationId="{B50A8FA5-2DF6-93C9-82A3-8AC87E3645F5}"/>
          </ac:grpSpMkLst>
        </pc:grpChg>
        <pc:picChg chg="add del mod">
          <ac:chgData name="Koen Verbeeck" userId="24d0e79a7fd977da" providerId="LiveId" clId="{BA5CD2F8-66DA-43DE-8187-1C492E55A66A}" dt="2023-10-16T11:53:17.445" v="977"/>
          <ac:picMkLst>
            <pc:docMk/>
            <pc:sldMk cId="2888553981" sldId="2147479140"/>
            <ac:picMk id="21" creationId="{4C8A060F-BD0D-0BE4-FE87-F5E83F1FC810}"/>
          </ac:picMkLst>
        </pc:picChg>
        <pc:picChg chg="add del mod">
          <ac:chgData name="Koen Verbeeck" userId="24d0e79a7fd977da" providerId="LiveId" clId="{BA5CD2F8-66DA-43DE-8187-1C492E55A66A}" dt="2023-10-16T11:53:17.445" v="977"/>
          <ac:picMkLst>
            <pc:docMk/>
            <pc:sldMk cId="2888553981" sldId="2147479140"/>
            <ac:picMk id="22" creationId="{6BA42D45-56C0-F424-ABC7-D5C422B696A9}"/>
          </ac:picMkLst>
        </pc:picChg>
        <pc:picChg chg="add del mod">
          <ac:chgData name="Koen Verbeeck" userId="24d0e79a7fd977da" providerId="LiveId" clId="{BA5CD2F8-66DA-43DE-8187-1C492E55A66A}" dt="2023-10-16T11:53:17.445" v="977"/>
          <ac:picMkLst>
            <pc:docMk/>
            <pc:sldMk cId="2888553981" sldId="2147479140"/>
            <ac:picMk id="23" creationId="{9A3206B2-848E-8EE4-B8CA-774DD346D41F}"/>
          </ac:picMkLst>
        </pc:picChg>
        <pc:picChg chg="add del mod">
          <ac:chgData name="Koen Verbeeck" userId="24d0e79a7fd977da" providerId="LiveId" clId="{BA5CD2F8-66DA-43DE-8187-1C492E55A66A}" dt="2023-10-16T11:53:17.445" v="977"/>
          <ac:picMkLst>
            <pc:docMk/>
            <pc:sldMk cId="2888553981" sldId="2147479140"/>
            <ac:picMk id="24" creationId="{E417936B-B1C8-C0DF-42FD-161C382C0D1E}"/>
          </ac:picMkLst>
        </pc:picChg>
        <pc:picChg chg="add mod">
          <ac:chgData name="Koen Verbeeck" userId="24d0e79a7fd977da" providerId="LiveId" clId="{BA5CD2F8-66DA-43DE-8187-1C492E55A66A}" dt="2023-10-16T11:53:17.453" v="978"/>
          <ac:picMkLst>
            <pc:docMk/>
            <pc:sldMk cId="2888553981" sldId="2147479140"/>
            <ac:picMk id="41" creationId="{3612AA31-EFDC-D227-BA39-524DDC4AFC73}"/>
          </ac:picMkLst>
        </pc:picChg>
        <pc:picChg chg="add mod">
          <ac:chgData name="Koen Verbeeck" userId="24d0e79a7fd977da" providerId="LiveId" clId="{BA5CD2F8-66DA-43DE-8187-1C492E55A66A}" dt="2023-10-16T11:53:17.453" v="978"/>
          <ac:picMkLst>
            <pc:docMk/>
            <pc:sldMk cId="2888553981" sldId="2147479140"/>
            <ac:picMk id="42" creationId="{5F9C3D77-4250-3EEE-D72C-852B2442BB08}"/>
          </ac:picMkLst>
        </pc:picChg>
        <pc:picChg chg="add mod">
          <ac:chgData name="Koen Verbeeck" userId="24d0e79a7fd977da" providerId="LiveId" clId="{BA5CD2F8-66DA-43DE-8187-1C492E55A66A}" dt="2023-10-16T11:53:17.453" v="978"/>
          <ac:picMkLst>
            <pc:docMk/>
            <pc:sldMk cId="2888553981" sldId="2147479140"/>
            <ac:picMk id="43" creationId="{EEA7EC75-25E7-B518-85D3-CA4253F60FCB}"/>
          </ac:picMkLst>
        </pc:picChg>
        <pc:picChg chg="add mod">
          <ac:chgData name="Koen Verbeeck" userId="24d0e79a7fd977da" providerId="LiveId" clId="{BA5CD2F8-66DA-43DE-8187-1C492E55A66A}" dt="2023-10-16T11:53:17.453" v="978"/>
          <ac:picMkLst>
            <pc:docMk/>
            <pc:sldMk cId="2888553981" sldId="2147479140"/>
            <ac:picMk id="44" creationId="{E8E03289-9DD8-30BD-7FA8-43A835E89EA5}"/>
          </ac:picMkLst>
        </pc:picChg>
        <pc:cxnChg chg="add del mod">
          <ac:chgData name="Koen Verbeeck" userId="24d0e79a7fd977da" providerId="LiveId" clId="{BA5CD2F8-66DA-43DE-8187-1C492E55A66A}" dt="2023-10-16T11:53:17.445" v="977"/>
          <ac:cxnSpMkLst>
            <pc:docMk/>
            <pc:sldMk cId="2888553981" sldId="2147479140"/>
            <ac:cxnSpMk id="17" creationId="{99D3D977-8D3A-BE26-1E6B-7CCA341D3FED}"/>
          </ac:cxnSpMkLst>
        </pc:cxnChg>
        <pc:cxnChg chg="add del mod">
          <ac:chgData name="Koen Verbeeck" userId="24d0e79a7fd977da" providerId="LiveId" clId="{BA5CD2F8-66DA-43DE-8187-1C492E55A66A}" dt="2023-10-16T11:53:17.445" v="977"/>
          <ac:cxnSpMkLst>
            <pc:docMk/>
            <pc:sldMk cId="2888553981" sldId="2147479140"/>
            <ac:cxnSpMk id="19" creationId="{C99E029F-1ED4-D8C7-475B-4D777F2E4A0B}"/>
          </ac:cxnSpMkLst>
        </pc:cxnChg>
        <pc:cxnChg chg="add mod">
          <ac:chgData name="Koen Verbeeck" userId="24d0e79a7fd977da" providerId="LiveId" clId="{BA5CD2F8-66DA-43DE-8187-1C492E55A66A}" dt="2023-10-16T11:53:17.453" v="978"/>
          <ac:cxnSpMkLst>
            <pc:docMk/>
            <pc:sldMk cId="2888553981" sldId="2147479140"/>
            <ac:cxnSpMk id="37" creationId="{DAC94306-15F9-7F2D-0E9F-E9EF90DD4C48}"/>
          </ac:cxnSpMkLst>
        </pc:cxnChg>
        <pc:cxnChg chg="add mod">
          <ac:chgData name="Koen Verbeeck" userId="24d0e79a7fd977da" providerId="LiveId" clId="{BA5CD2F8-66DA-43DE-8187-1C492E55A66A}" dt="2023-10-16T11:53:17.453" v="978"/>
          <ac:cxnSpMkLst>
            <pc:docMk/>
            <pc:sldMk cId="2888553981" sldId="2147479140"/>
            <ac:cxnSpMk id="39" creationId="{C0F01595-6661-215A-FC20-6181DA58C18C}"/>
          </ac:cxnSpMkLst>
        </pc:cxnChg>
      </pc:sldChg>
      <pc:sldChg chg="delSp add del mod">
        <pc:chgData name="Koen Verbeeck" userId="24d0e79a7fd977da" providerId="LiveId" clId="{BA5CD2F8-66DA-43DE-8187-1C492E55A66A}" dt="2023-10-16T11:54:53.730" v="985" actId="47"/>
        <pc:sldMkLst>
          <pc:docMk/>
          <pc:sldMk cId="1156609343" sldId="2147479141"/>
        </pc:sldMkLst>
        <pc:spChg chg="del">
          <ac:chgData name="Koen Verbeeck" userId="24d0e79a7fd977da" providerId="LiveId" clId="{BA5CD2F8-66DA-43DE-8187-1C492E55A66A}" dt="2023-10-16T11:54:31.213" v="980" actId="478"/>
          <ac:spMkLst>
            <pc:docMk/>
            <pc:sldMk cId="1156609343" sldId="2147479141"/>
            <ac:spMk id="38" creationId="{826198DD-78BB-8515-2F79-9AEE022B29C4}"/>
          </ac:spMkLst>
        </pc:spChg>
        <pc:spChg chg="del">
          <ac:chgData name="Koen Verbeeck" userId="24d0e79a7fd977da" providerId="LiveId" clId="{BA5CD2F8-66DA-43DE-8187-1C492E55A66A}" dt="2023-10-16T11:54:31.213" v="980" actId="478"/>
          <ac:spMkLst>
            <pc:docMk/>
            <pc:sldMk cId="1156609343" sldId="2147479141"/>
            <ac:spMk id="40" creationId="{61780B53-8D5B-1D8C-E191-EDC361AE42D9}"/>
          </ac:spMkLst>
        </pc:spChg>
        <pc:grpChg chg="del">
          <ac:chgData name="Koen Verbeeck" userId="24d0e79a7fd977da" providerId="LiveId" clId="{BA5CD2F8-66DA-43DE-8187-1C492E55A66A}" dt="2023-10-16T11:54:31.213" v="980" actId="478"/>
          <ac:grpSpMkLst>
            <pc:docMk/>
            <pc:sldMk cId="1156609343" sldId="2147479141"/>
            <ac:grpSpMk id="25" creationId="{72A1764D-4314-9FD9-6B16-D2EA3CA3CB35}"/>
          </ac:grpSpMkLst>
        </pc:grpChg>
        <pc:grpChg chg="del">
          <ac:chgData name="Koen Verbeeck" userId="24d0e79a7fd977da" providerId="LiveId" clId="{BA5CD2F8-66DA-43DE-8187-1C492E55A66A}" dt="2023-10-16T11:54:31.213" v="980" actId="478"/>
          <ac:grpSpMkLst>
            <pc:docMk/>
            <pc:sldMk cId="1156609343" sldId="2147479141"/>
            <ac:grpSpMk id="28" creationId="{03CB20EF-F11F-8205-19A5-C48A2DF3B3AF}"/>
          </ac:grpSpMkLst>
        </pc:grpChg>
        <pc:grpChg chg="del">
          <ac:chgData name="Koen Verbeeck" userId="24d0e79a7fd977da" providerId="LiveId" clId="{BA5CD2F8-66DA-43DE-8187-1C492E55A66A}" dt="2023-10-16T11:54:31.213" v="980" actId="478"/>
          <ac:grpSpMkLst>
            <pc:docMk/>
            <pc:sldMk cId="1156609343" sldId="2147479141"/>
            <ac:grpSpMk id="31" creationId="{1310ED3B-0E57-138C-E67B-5ED6649F3D37}"/>
          </ac:grpSpMkLst>
        </pc:grpChg>
        <pc:grpChg chg="del">
          <ac:chgData name="Koen Verbeeck" userId="24d0e79a7fd977da" providerId="LiveId" clId="{BA5CD2F8-66DA-43DE-8187-1C492E55A66A}" dt="2023-10-16T11:54:31.213" v="980" actId="478"/>
          <ac:grpSpMkLst>
            <pc:docMk/>
            <pc:sldMk cId="1156609343" sldId="2147479141"/>
            <ac:grpSpMk id="34" creationId="{B50A8FA5-2DF6-93C9-82A3-8AC87E3645F5}"/>
          </ac:grpSpMkLst>
        </pc:grpChg>
        <pc:picChg chg="del">
          <ac:chgData name="Koen Verbeeck" userId="24d0e79a7fd977da" providerId="LiveId" clId="{BA5CD2F8-66DA-43DE-8187-1C492E55A66A}" dt="2023-10-16T11:54:31.213" v="980" actId="478"/>
          <ac:picMkLst>
            <pc:docMk/>
            <pc:sldMk cId="1156609343" sldId="2147479141"/>
            <ac:picMk id="41" creationId="{3612AA31-EFDC-D227-BA39-524DDC4AFC73}"/>
          </ac:picMkLst>
        </pc:picChg>
        <pc:picChg chg="del">
          <ac:chgData name="Koen Verbeeck" userId="24d0e79a7fd977da" providerId="LiveId" clId="{BA5CD2F8-66DA-43DE-8187-1C492E55A66A}" dt="2023-10-16T11:54:31.213" v="980" actId="478"/>
          <ac:picMkLst>
            <pc:docMk/>
            <pc:sldMk cId="1156609343" sldId="2147479141"/>
            <ac:picMk id="42" creationId="{5F9C3D77-4250-3EEE-D72C-852B2442BB08}"/>
          </ac:picMkLst>
        </pc:picChg>
        <pc:picChg chg="del">
          <ac:chgData name="Koen Verbeeck" userId="24d0e79a7fd977da" providerId="LiveId" clId="{BA5CD2F8-66DA-43DE-8187-1C492E55A66A}" dt="2023-10-16T11:54:31.213" v="980" actId="478"/>
          <ac:picMkLst>
            <pc:docMk/>
            <pc:sldMk cId="1156609343" sldId="2147479141"/>
            <ac:picMk id="43" creationId="{EEA7EC75-25E7-B518-85D3-CA4253F60FCB}"/>
          </ac:picMkLst>
        </pc:picChg>
        <pc:picChg chg="del">
          <ac:chgData name="Koen Verbeeck" userId="24d0e79a7fd977da" providerId="LiveId" clId="{BA5CD2F8-66DA-43DE-8187-1C492E55A66A}" dt="2023-10-16T11:54:31.213" v="980" actId="478"/>
          <ac:picMkLst>
            <pc:docMk/>
            <pc:sldMk cId="1156609343" sldId="2147479141"/>
            <ac:picMk id="44" creationId="{E8E03289-9DD8-30BD-7FA8-43A835E89EA5}"/>
          </ac:picMkLst>
        </pc:picChg>
        <pc:cxnChg chg="del">
          <ac:chgData name="Koen Verbeeck" userId="24d0e79a7fd977da" providerId="LiveId" clId="{BA5CD2F8-66DA-43DE-8187-1C492E55A66A}" dt="2023-10-16T11:54:31.213" v="980" actId="478"/>
          <ac:cxnSpMkLst>
            <pc:docMk/>
            <pc:sldMk cId="1156609343" sldId="2147479141"/>
            <ac:cxnSpMk id="37" creationId="{DAC94306-15F9-7F2D-0E9F-E9EF90DD4C48}"/>
          </ac:cxnSpMkLst>
        </pc:cxnChg>
        <pc:cxnChg chg="del">
          <ac:chgData name="Koen Verbeeck" userId="24d0e79a7fd977da" providerId="LiveId" clId="{BA5CD2F8-66DA-43DE-8187-1C492E55A66A}" dt="2023-10-16T11:54:31.213" v="980" actId="478"/>
          <ac:cxnSpMkLst>
            <pc:docMk/>
            <pc:sldMk cId="1156609343" sldId="2147479141"/>
            <ac:cxnSpMk id="39" creationId="{C0F01595-6661-215A-FC20-6181DA58C18C}"/>
          </ac:cxnSpMkLst>
        </pc:cxnChg>
      </pc:sldChg>
      <pc:sldChg chg="addSp modSp add">
        <pc:chgData name="Koen Verbeeck" userId="24d0e79a7fd977da" providerId="LiveId" clId="{BA5CD2F8-66DA-43DE-8187-1C492E55A66A}" dt="2023-10-16T11:54:37.239" v="982"/>
        <pc:sldMkLst>
          <pc:docMk/>
          <pc:sldMk cId="1865179154" sldId="2147479142"/>
        </pc:sldMkLst>
        <pc:picChg chg="add mod">
          <ac:chgData name="Koen Verbeeck" userId="24d0e79a7fd977da" providerId="LiveId" clId="{BA5CD2F8-66DA-43DE-8187-1C492E55A66A}" dt="2023-10-16T11:54:37.239" v="982"/>
          <ac:picMkLst>
            <pc:docMk/>
            <pc:sldMk cId="1865179154" sldId="2147479142"/>
            <ac:picMk id="2" creationId="{FC4688B3-5487-0368-2E6D-C268E074F2AF}"/>
          </ac:picMkLst>
        </pc:picChg>
      </pc:sldChg>
      <pc:sldChg chg="addSp delSp modSp new modAnim">
        <pc:chgData name="Koen Verbeeck" userId="24d0e79a7fd977da" providerId="LiveId" clId="{BA5CD2F8-66DA-43DE-8187-1C492E55A66A}" dt="2023-10-16T12:27:33.848" v="1006"/>
        <pc:sldMkLst>
          <pc:docMk/>
          <pc:sldMk cId="714118142" sldId="2147479143"/>
        </pc:sldMkLst>
        <pc:picChg chg="add mod">
          <ac:chgData name="Koen Verbeeck" userId="24d0e79a7fd977da" providerId="LiveId" clId="{BA5CD2F8-66DA-43DE-8187-1C492E55A66A}" dt="2023-10-16T11:54:46.760" v="984"/>
          <ac:picMkLst>
            <pc:docMk/>
            <pc:sldMk cId="714118142" sldId="2147479143"/>
            <ac:picMk id="3" creationId="{DC1E6E34-663A-89F4-1E70-50463783F16A}"/>
          </ac:picMkLst>
        </pc:picChg>
        <pc:picChg chg="add del mod">
          <ac:chgData name="Koen Verbeeck" userId="24d0e79a7fd977da" providerId="LiveId" clId="{BA5CD2F8-66DA-43DE-8187-1C492E55A66A}" dt="2023-10-16T12:27:33.848" v="1006"/>
          <ac:picMkLst>
            <pc:docMk/>
            <pc:sldMk cId="714118142" sldId="2147479143"/>
            <ac:picMk id="4" creationId="{E92CA4CD-9CFD-58CC-59E3-7DCAAE49D6D0}"/>
          </ac:picMkLst>
        </pc:picChg>
      </pc:sldChg>
      <pc:sldChg chg="addSp delSp modSp new mod modNotesTx">
        <pc:chgData name="Koen Verbeeck" userId="24d0e79a7fd977da" providerId="LiveId" clId="{BA5CD2F8-66DA-43DE-8187-1C492E55A66A}" dt="2023-10-16T11:56:40.835" v="1001" actId="20577"/>
        <pc:sldMkLst>
          <pc:docMk/>
          <pc:sldMk cId="2012303893" sldId="2147479144"/>
        </pc:sldMkLst>
        <pc:spChg chg="del">
          <ac:chgData name="Koen Verbeeck" userId="24d0e79a7fd977da" providerId="LiveId" clId="{BA5CD2F8-66DA-43DE-8187-1C492E55A66A}" dt="2023-10-16T11:56:21.908" v="988" actId="478"/>
          <ac:spMkLst>
            <pc:docMk/>
            <pc:sldMk cId="2012303893" sldId="2147479144"/>
            <ac:spMk id="2" creationId="{A1AAFF79-0C99-61C1-3088-D676637C6EC1}"/>
          </ac:spMkLst>
        </pc:spChg>
        <pc:picChg chg="add mod">
          <ac:chgData name="Koen Verbeeck" userId="24d0e79a7fd977da" providerId="LiveId" clId="{BA5CD2F8-66DA-43DE-8187-1C492E55A66A}" dt="2023-10-16T11:56:23.531" v="989" actId="1076"/>
          <ac:picMkLst>
            <pc:docMk/>
            <pc:sldMk cId="2012303893" sldId="2147479144"/>
            <ac:picMk id="3" creationId="{BA45279D-1CCB-C7B9-47A5-BBC8A0FD97D0}"/>
          </ac:picMkLst>
        </pc:picChg>
      </pc:sldChg>
      <pc:sldChg chg="addSp modSp new mod">
        <pc:chgData name="Koen Verbeeck" userId="24d0e79a7fd977da" providerId="LiveId" clId="{BA5CD2F8-66DA-43DE-8187-1C492E55A66A}" dt="2023-10-16T12:27:22.435" v="1004" actId="1076"/>
        <pc:sldMkLst>
          <pc:docMk/>
          <pc:sldMk cId="923361657" sldId="2147479145"/>
        </pc:sldMkLst>
        <pc:picChg chg="add mod">
          <ac:chgData name="Koen Verbeeck" userId="24d0e79a7fd977da" providerId="LiveId" clId="{BA5CD2F8-66DA-43DE-8187-1C492E55A66A}" dt="2023-10-16T12:27:22.435" v="1004" actId="1076"/>
          <ac:picMkLst>
            <pc:docMk/>
            <pc:sldMk cId="923361657" sldId="2147479145"/>
            <ac:picMk id="3" creationId="{C65C278F-B802-E2AD-3553-9483B4769340}"/>
          </ac:picMkLst>
        </pc:picChg>
      </pc:sldChg>
      <pc:sldChg chg="addSp delSp modSp add mod modAnim">
        <pc:chgData name="Koen Verbeeck" userId="24d0e79a7fd977da" providerId="LiveId" clId="{BA5CD2F8-66DA-43DE-8187-1C492E55A66A}" dt="2023-10-16T12:27:38.919" v="1010" actId="1076"/>
        <pc:sldMkLst>
          <pc:docMk/>
          <pc:sldMk cId="51177050" sldId="2147479146"/>
        </pc:sldMkLst>
        <pc:picChg chg="del">
          <ac:chgData name="Koen Verbeeck" userId="24d0e79a7fd977da" providerId="LiveId" clId="{BA5CD2F8-66DA-43DE-8187-1C492E55A66A}" dt="2023-10-16T12:27:37.122" v="1008" actId="478"/>
          <ac:picMkLst>
            <pc:docMk/>
            <pc:sldMk cId="51177050" sldId="2147479146"/>
            <ac:picMk id="3" creationId="{DC1E6E34-663A-89F4-1E70-50463783F16A}"/>
          </ac:picMkLst>
        </pc:picChg>
        <pc:picChg chg="add mod">
          <ac:chgData name="Koen Verbeeck" userId="24d0e79a7fd977da" providerId="LiveId" clId="{BA5CD2F8-66DA-43DE-8187-1C492E55A66A}" dt="2023-10-16T12:27:38.919" v="1010" actId="1076"/>
          <ac:picMkLst>
            <pc:docMk/>
            <pc:sldMk cId="51177050" sldId="2147479146"/>
            <ac:picMk id="4" creationId="{5356D517-A7B3-743F-E195-0A08C672ABC2}"/>
          </ac:picMkLst>
        </pc:picChg>
      </pc:sldChg>
      <pc:sldChg chg="addSp modSp new mod modAnim">
        <pc:chgData name="Koen Verbeeck" userId="24d0e79a7fd977da" providerId="LiveId" clId="{BA5CD2F8-66DA-43DE-8187-1C492E55A66A}" dt="2023-10-16T12:32:51.740" v="1022"/>
        <pc:sldMkLst>
          <pc:docMk/>
          <pc:sldMk cId="3737642826" sldId="2147479147"/>
        </pc:sldMkLst>
        <pc:picChg chg="add mod">
          <ac:chgData name="Koen Verbeeck" userId="24d0e79a7fd977da" providerId="LiveId" clId="{BA5CD2F8-66DA-43DE-8187-1C492E55A66A}" dt="2023-10-16T12:32:46.458" v="1019" actId="1076"/>
          <ac:picMkLst>
            <pc:docMk/>
            <pc:sldMk cId="3737642826" sldId="2147479147"/>
            <ac:picMk id="4" creationId="{1705263C-E9F6-55CE-6CB8-3439C148DC0B}"/>
          </ac:picMkLst>
        </pc:picChg>
        <pc:picChg chg="add mod">
          <ac:chgData name="Koen Verbeeck" userId="24d0e79a7fd977da" providerId="LiveId" clId="{BA5CD2F8-66DA-43DE-8187-1C492E55A66A}" dt="2023-10-16T12:32:48.752" v="1021" actId="1076"/>
          <ac:picMkLst>
            <pc:docMk/>
            <pc:sldMk cId="3737642826" sldId="2147479147"/>
            <ac:picMk id="6" creationId="{79BD04EF-7A83-E0F9-7B1D-A610E4EBED99}"/>
          </ac:picMkLst>
        </pc:picChg>
      </pc:sldChg>
      <pc:sldChg chg="addSp delSp modSp new mod modClrScheme modAnim chgLayout">
        <pc:chgData name="Koen Verbeeck" userId="24d0e79a7fd977da" providerId="LiveId" clId="{BA5CD2F8-66DA-43DE-8187-1C492E55A66A}" dt="2023-10-17T10:11:00.909" v="1030"/>
        <pc:sldMkLst>
          <pc:docMk/>
          <pc:sldMk cId="1695156761" sldId="2147479148"/>
        </pc:sldMkLst>
        <pc:spChg chg="del mod ord">
          <ac:chgData name="Koen Verbeeck" userId="24d0e79a7fd977da" providerId="LiveId" clId="{BA5CD2F8-66DA-43DE-8187-1C492E55A66A}" dt="2023-10-17T10:09:59.653" v="1024" actId="700"/>
          <ac:spMkLst>
            <pc:docMk/>
            <pc:sldMk cId="1695156761" sldId="2147479148"/>
            <ac:spMk id="2" creationId="{37117150-7627-21AC-EB48-53D51EE3FB5C}"/>
          </ac:spMkLst>
        </pc:spChg>
        <pc:spChg chg="del">
          <ac:chgData name="Koen Verbeeck" userId="24d0e79a7fd977da" providerId="LiveId" clId="{BA5CD2F8-66DA-43DE-8187-1C492E55A66A}" dt="2023-10-17T10:09:59.653" v="1024" actId="700"/>
          <ac:spMkLst>
            <pc:docMk/>
            <pc:sldMk cId="1695156761" sldId="2147479148"/>
            <ac:spMk id="3" creationId="{AEA04DDC-2EDE-963A-3FCC-2B8BC5027A75}"/>
          </ac:spMkLst>
        </pc:spChg>
        <pc:spChg chg="add del mod ord">
          <ac:chgData name="Koen Verbeeck" userId="24d0e79a7fd977da" providerId="LiveId" clId="{BA5CD2F8-66DA-43DE-8187-1C492E55A66A}" dt="2023-10-17T10:10:57.623" v="1025" actId="478"/>
          <ac:spMkLst>
            <pc:docMk/>
            <pc:sldMk cId="1695156761" sldId="2147479148"/>
            <ac:spMk id="4" creationId="{959851C4-63E8-7077-902A-DA37B79FAF59}"/>
          </ac:spMkLst>
        </pc:spChg>
        <pc:spChg chg="add del mod">
          <ac:chgData name="Koen Verbeeck" userId="24d0e79a7fd977da" providerId="LiveId" clId="{BA5CD2F8-66DA-43DE-8187-1C492E55A66A}" dt="2023-10-17T10:11:00.899" v="1029"/>
          <ac:spMkLst>
            <pc:docMk/>
            <pc:sldMk cId="1695156761" sldId="2147479148"/>
            <ac:spMk id="5" creationId="{554DA7EC-CB1E-B1B2-72CE-EA6B197746D9}"/>
          </ac:spMkLst>
        </pc:spChg>
        <pc:spChg chg="add mod">
          <ac:chgData name="Koen Verbeeck" userId="24d0e79a7fd977da" providerId="LiveId" clId="{BA5CD2F8-66DA-43DE-8187-1C492E55A66A}" dt="2023-10-17T10:11:00.909" v="1030"/>
          <ac:spMkLst>
            <pc:docMk/>
            <pc:sldMk cId="1695156761" sldId="2147479148"/>
            <ac:spMk id="7" creationId="{7480E547-83A0-9354-704E-5A9E640C7260}"/>
          </ac:spMkLst>
        </pc:spChg>
        <pc:picChg chg="add del mod">
          <ac:chgData name="Koen Verbeeck" userId="24d0e79a7fd977da" providerId="LiveId" clId="{BA5CD2F8-66DA-43DE-8187-1C492E55A66A}" dt="2023-10-17T10:11:00.899" v="1029"/>
          <ac:picMkLst>
            <pc:docMk/>
            <pc:sldMk cId="1695156761" sldId="2147479148"/>
            <ac:picMk id="6" creationId="{6DE33061-9C92-818D-0E19-E8B9CF4C082F}"/>
          </ac:picMkLst>
        </pc:picChg>
        <pc:picChg chg="add mod">
          <ac:chgData name="Koen Verbeeck" userId="24d0e79a7fd977da" providerId="LiveId" clId="{BA5CD2F8-66DA-43DE-8187-1C492E55A66A}" dt="2023-10-17T10:11:00.909" v="1030"/>
          <ac:picMkLst>
            <pc:docMk/>
            <pc:sldMk cId="1695156761" sldId="2147479148"/>
            <ac:picMk id="8" creationId="{EE50EE4B-E77E-1A0F-7CA6-5497D045E994}"/>
          </ac:picMkLst>
        </pc:picChg>
      </pc:sldChg>
      <pc:sldChg chg="addSp delSp modSp add mod delAnim">
        <pc:chgData name="Koen Verbeeck" userId="24d0e79a7fd977da" providerId="LiveId" clId="{BA5CD2F8-66DA-43DE-8187-1C492E55A66A}" dt="2023-10-17T10:11:33.225" v="1037"/>
        <pc:sldMkLst>
          <pc:docMk/>
          <pc:sldMk cId="1619643768" sldId="2147479149"/>
        </pc:sldMkLst>
        <pc:spChg chg="add del mod">
          <ac:chgData name="Koen Verbeeck" userId="24d0e79a7fd977da" providerId="LiveId" clId="{BA5CD2F8-66DA-43DE-8187-1C492E55A66A}" dt="2023-10-17T10:11:33.217" v="1036"/>
          <ac:spMkLst>
            <pc:docMk/>
            <pc:sldMk cId="1619643768" sldId="2147479149"/>
            <ac:spMk id="2" creationId="{6B0A91DF-255F-0939-F11E-4B5FBD6C21B8}"/>
          </ac:spMkLst>
        </pc:spChg>
        <pc:spChg chg="add mod">
          <ac:chgData name="Koen Verbeeck" userId="24d0e79a7fd977da" providerId="LiveId" clId="{BA5CD2F8-66DA-43DE-8187-1C492E55A66A}" dt="2023-10-17T10:11:33.225" v="1037"/>
          <ac:spMkLst>
            <pc:docMk/>
            <pc:sldMk cId="1619643768" sldId="2147479149"/>
            <ac:spMk id="4" creationId="{D73D1818-CA1B-ABF1-88FB-E41C99CFDAB5}"/>
          </ac:spMkLst>
        </pc:spChg>
        <pc:spChg chg="del">
          <ac:chgData name="Koen Verbeeck" userId="24d0e79a7fd977da" providerId="LiveId" clId="{BA5CD2F8-66DA-43DE-8187-1C492E55A66A}" dt="2023-10-17T10:11:11.468" v="1032" actId="478"/>
          <ac:spMkLst>
            <pc:docMk/>
            <pc:sldMk cId="1619643768" sldId="2147479149"/>
            <ac:spMk id="7" creationId="{7480E547-83A0-9354-704E-5A9E640C7260}"/>
          </ac:spMkLst>
        </pc:spChg>
        <pc:picChg chg="add del mod">
          <ac:chgData name="Koen Verbeeck" userId="24d0e79a7fd977da" providerId="LiveId" clId="{BA5CD2F8-66DA-43DE-8187-1C492E55A66A}" dt="2023-10-17T10:11:33.217" v="1036"/>
          <ac:picMkLst>
            <pc:docMk/>
            <pc:sldMk cId="1619643768" sldId="2147479149"/>
            <ac:picMk id="3" creationId="{4707A47B-B4E0-A700-4A63-6BD6091AB1EF}"/>
          </ac:picMkLst>
        </pc:picChg>
        <pc:picChg chg="add mod">
          <ac:chgData name="Koen Verbeeck" userId="24d0e79a7fd977da" providerId="LiveId" clId="{BA5CD2F8-66DA-43DE-8187-1C492E55A66A}" dt="2023-10-17T10:11:33.225" v="1037"/>
          <ac:picMkLst>
            <pc:docMk/>
            <pc:sldMk cId="1619643768" sldId="2147479149"/>
            <ac:picMk id="5" creationId="{6B8E5AC1-FC3E-8051-1F67-1BB617157958}"/>
          </ac:picMkLst>
        </pc:picChg>
        <pc:picChg chg="del">
          <ac:chgData name="Koen Verbeeck" userId="24d0e79a7fd977da" providerId="LiveId" clId="{BA5CD2F8-66DA-43DE-8187-1C492E55A66A}" dt="2023-10-17T10:11:11.468" v="1032" actId="478"/>
          <ac:picMkLst>
            <pc:docMk/>
            <pc:sldMk cId="1619643768" sldId="2147479149"/>
            <ac:picMk id="8" creationId="{EE50EE4B-E77E-1A0F-7CA6-5497D045E994}"/>
          </ac:picMkLst>
        </pc:picChg>
      </pc:sldChg>
      <pc:sldChg chg="addSp delSp modSp add mod">
        <pc:chgData name="Koen Verbeeck" userId="24d0e79a7fd977da" providerId="LiveId" clId="{BA5CD2F8-66DA-43DE-8187-1C492E55A66A}" dt="2023-10-17T10:13:50.116" v="1044" actId="478"/>
        <pc:sldMkLst>
          <pc:docMk/>
          <pc:sldMk cId="2065758277" sldId="2147479150"/>
        </pc:sldMkLst>
        <pc:spChg chg="add del mod">
          <ac:chgData name="Koen Verbeeck" userId="24d0e79a7fd977da" providerId="LiveId" clId="{BA5CD2F8-66DA-43DE-8187-1C492E55A66A}" dt="2023-10-17T10:13:40.421" v="1042"/>
          <ac:spMkLst>
            <pc:docMk/>
            <pc:sldMk cId="2065758277" sldId="2147479150"/>
            <ac:spMk id="2" creationId="{DE3BF317-4E94-7633-43E9-70B59DC378D4}"/>
          </ac:spMkLst>
        </pc:spChg>
        <pc:spChg chg="add del mod">
          <ac:chgData name="Koen Verbeeck" userId="24d0e79a7fd977da" providerId="LiveId" clId="{BA5CD2F8-66DA-43DE-8187-1C492E55A66A}" dt="2023-10-17T10:13:40.421" v="1042"/>
          <ac:spMkLst>
            <pc:docMk/>
            <pc:sldMk cId="2065758277" sldId="2147479150"/>
            <ac:spMk id="3" creationId="{4B45DAC2-36A8-AB21-F40A-D473ED30FC55}"/>
          </ac:spMkLst>
        </pc:spChg>
        <pc:spChg chg="del">
          <ac:chgData name="Koen Verbeeck" userId="24d0e79a7fd977da" providerId="LiveId" clId="{BA5CD2F8-66DA-43DE-8187-1C492E55A66A}" dt="2023-10-17T10:13:37.085" v="1039" actId="478"/>
          <ac:spMkLst>
            <pc:docMk/>
            <pc:sldMk cId="2065758277" sldId="2147479150"/>
            <ac:spMk id="4" creationId="{D73D1818-CA1B-ABF1-88FB-E41C99CFDAB5}"/>
          </ac:spMkLst>
        </pc:spChg>
        <pc:spChg chg="add del mod">
          <ac:chgData name="Koen Verbeeck" userId="24d0e79a7fd977da" providerId="LiveId" clId="{BA5CD2F8-66DA-43DE-8187-1C492E55A66A}" dt="2023-10-17T10:13:40.421" v="1042"/>
          <ac:spMkLst>
            <pc:docMk/>
            <pc:sldMk cId="2065758277" sldId="2147479150"/>
            <ac:spMk id="6" creationId="{07384794-249B-281A-5C15-C58183970A5F}"/>
          </ac:spMkLst>
        </pc:spChg>
        <pc:spChg chg="add del mod">
          <ac:chgData name="Koen Verbeeck" userId="24d0e79a7fd977da" providerId="LiveId" clId="{BA5CD2F8-66DA-43DE-8187-1C492E55A66A}" dt="2023-10-17T10:13:40.421" v="1042"/>
          <ac:spMkLst>
            <pc:docMk/>
            <pc:sldMk cId="2065758277" sldId="2147479150"/>
            <ac:spMk id="9" creationId="{A19AA56B-193E-48B6-C210-8C09E4F8626D}"/>
          </ac:spMkLst>
        </pc:spChg>
        <pc:spChg chg="add del mod">
          <ac:chgData name="Koen Verbeeck" userId="24d0e79a7fd977da" providerId="LiveId" clId="{BA5CD2F8-66DA-43DE-8187-1C492E55A66A}" dt="2023-10-17T10:13:40.421" v="1042"/>
          <ac:spMkLst>
            <pc:docMk/>
            <pc:sldMk cId="2065758277" sldId="2147479150"/>
            <ac:spMk id="10" creationId="{24B8C440-AA2E-8CBF-DA98-134B5E958CC7}"/>
          </ac:spMkLst>
        </pc:spChg>
        <pc:spChg chg="add del mod">
          <ac:chgData name="Koen Verbeeck" userId="24d0e79a7fd977da" providerId="LiveId" clId="{BA5CD2F8-66DA-43DE-8187-1C492E55A66A}" dt="2023-10-17T10:13:40.421" v="1042"/>
          <ac:spMkLst>
            <pc:docMk/>
            <pc:sldMk cId="2065758277" sldId="2147479150"/>
            <ac:spMk id="11" creationId="{08288E63-0687-0647-94B0-0413FC35A110}"/>
          </ac:spMkLst>
        </pc:spChg>
        <pc:spChg chg="add del mod">
          <ac:chgData name="Koen Verbeeck" userId="24d0e79a7fd977da" providerId="LiveId" clId="{BA5CD2F8-66DA-43DE-8187-1C492E55A66A}" dt="2023-10-17T10:13:40.421" v="1042"/>
          <ac:spMkLst>
            <pc:docMk/>
            <pc:sldMk cId="2065758277" sldId="2147479150"/>
            <ac:spMk id="15" creationId="{7075916F-FF12-370C-C2DF-C7E183EB807A}"/>
          </ac:spMkLst>
        </pc:spChg>
        <pc:spChg chg="add del mod">
          <ac:chgData name="Koen Verbeeck" userId="24d0e79a7fd977da" providerId="LiveId" clId="{BA5CD2F8-66DA-43DE-8187-1C492E55A66A}" dt="2023-10-17T10:13:40.421" v="1042"/>
          <ac:spMkLst>
            <pc:docMk/>
            <pc:sldMk cId="2065758277" sldId="2147479150"/>
            <ac:spMk id="20" creationId="{1A75DF0F-8AD3-47C8-B1CD-1494F40B2567}"/>
          </ac:spMkLst>
        </pc:spChg>
        <pc:spChg chg="add del mod">
          <ac:chgData name="Koen Verbeeck" userId="24d0e79a7fd977da" providerId="LiveId" clId="{BA5CD2F8-66DA-43DE-8187-1C492E55A66A}" dt="2023-10-17T10:13:40.421" v="1042"/>
          <ac:spMkLst>
            <pc:docMk/>
            <pc:sldMk cId="2065758277" sldId="2147479150"/>
            <ac:spMk id="23" creationId="{2520C6AA-60E8-3EE3-4E81-A84095A171C5}"/>
          </ac:spMkLst>
        </pc:spChg>
        <pc:spChg chg="add del mod">
          <ac:chgData name="Koen Verbeeck" userId="24d0e79a7fd977da" providerId="LiveId" clId="{BA5CD2F8-66DA-43DE-8187-1C492E55A66A}" dt="2023-10-17T10:13:40.421" v="1042"/>
          <ac:spMkLst>
            <pc:docMk/>
            <pc:sldMk cId="2065758277" sldId="2147479150"/>
            <ac:spMk id="24" creationId="{4562E5B5-44BE-E6B9-5D20-EC0B7E89AF69}"/>
          </ac:spMkLst>
        </pc:spChg>
        <pc:spChg chg="add del mod">
          <ac:chgData name="Koen Verbeeck" userId="24d0e79a7fd977da" providerId="LiveId" clId="{BA5CD2F8-66DA-43DE-8187-1C492E55A66A}" dt="2023-10-17T10:13:40.421" v="1042"/>
          <ac:spMkLst>
            <pc:docMk/>
            <pc:sldMk cId="2065758277" sldId="2147479150"/>
            <ac:spMk id="26" creationId="{697831E3-55F5-3FC5-FC75-E6B054201E11}"/>
          </ac:spMkLst>
        </pc:spChg>
        <pc:spChg chg="add del mod">
          <ac:chgData name="Koen Verbeeck" userId="24d0e79a7fd977da" providerId="LiveId" clId="{BA5CD2F8-66DA-43DE-8187-1C492E55A66A}" dt="2023-10-17T10:13:40.421" v="1042"/>
          <ac:spMkLst>
            <pc:docMk/>
            <pc:sldMk cId="2065758277" sldId="2147479150"/>
            <ac:spMk id="27" creationId="{5A5CE675-CF11-9FF8-B053-36224851B650}"/>
          </ac:spMkLst>
        </pc:spChg>
        <pc:spChg chg="add mod">
          <ac:chgData name="Koen Verbeeck" userId="24d0e79a7fd977da" providerId="LiveId" clId="{BA5CD2F8-66DA-43DE-8187-1C492E55A66A}" dt="2023-10-17T10:13:40.449" v="1043"/>
          <ac:spMkLst>
            <pc:docMk/>
            <pc:sldMk cId="2065758277" sldId="2147479150"/>
            <ac:spMk id="28" creationId="{789907BB-8A25-4507-79B4-B968083CCB3E}"/>
          </ac:spMkLst>
        </pc:spChg>
        <pc:spChg chg="add del mod">
          <ac:chgData name="Koen Verbeeck" userId="24d0e79a7fd977da" providerId="LiveId" clId="{BA5CD2F8-66DA-43DE-8187-1C492E55A66A}" dt="2023-10-17T10:13:50.116" v="1044" actId="478"/>
          <ac:spMkLst>
            <pc:docMk/>
            <pc:sldMk cId="2065758277" sldId="2147479150"/>
            <ac:spMk id="29" creationId="{39AEC45A-76CA-5C0F-7FF6-73A7FFB20610}"/>
          </ac:spMkLst>
        </pc:spChg>
        <pc:spChg chg="add mod">
          <ac:chgData name="Koen Verbeeck" userId="24d0e79a7fd977da" providerId="LiveId" clId="{BA5CD2F8-66DA-43DE-8187-1C492E55A66A}" dt="2023-10-17T10:13:40.449" v="1043"/>
          <ac:spMkLst>
            <pc:docMk/>
            <pc:sldMk cId="2065758277" sldId="2147479150"/>
            <ac:spMk id="30" creationId="{D4742254-2784-1337-8F51-703DBBA2E623}"/>
          </ac:spMkLst>
        </pc:spChg>
        <pc:spChg chg="add mod">
          <ac:chgData name="Koen Verbeeck" userId="24d0e79a7fd977da" providerId="LiveId" clId="{BA5CD2F8-66DA-43DE-8187-1C492E55A66A}" dt="2023-10-17T10:13:40.449" v="1043"/>
          <ac:spMkLst>
            <pc:docMk/>
            <pc:sldMk cId="2065758277" sldId="2147479150"/>
            <ac:spMk id="33" creationId="{0600E0D1-1D05-115C-6C55-FCB491AC14DE}"/>
          </ac:spMkLst>
        </pc:spChg>
        <pc:spChg chg="add mod">
          <ac:chgData name="Koen Verbeeck" userId="24d0e79a7fd977da" providerId="LiveId" clId="{BA5CD2F8-66DA-43DE-8187-1C492E55A66A}" dt="2023-10-17T10:13:40.449" v="1043"/>
          <ac:spMkLst>
            <pc:docMk/>
            <pc:sldMk cId="2065758277" sldId="2147479150"/>
            <ac:spMk id="34" creationId="{88D9E3D5-29A8-8F3C-6F9D-8812E21B2A5D}"/>
          </ac:spMkLst>
        </pc:spChg>
        <pc:spChg chg="add mod">
          <ac:chgData name="Koen Verbeeck" userId="24d0e79a7fd977da" providerId="LiveId" clId="{BA5CD2F8-66DA-43DE-8187-1C492E55A66A}" dt="2023-10-17T10:13:40.449" v="1043"/>
          <ac:spMkLst>
            <pc:docMk/>
            <pc:sldMk cId="2065758277" sldId="2147479150"/>
            <ac:spMk id="35" creationId="{CB389A40-9075-1A63-86E5-657C2FF09199}"/>
          </ac:spMkLst>
        </pc:spChg>
        <pc:spChg chg="add mod">
          <ac:chgData name="Koen Verbeeck" userId="24d0e79a7fd977da" providerId="LiveId" clId="{BA5CD2F8-66DA-43DE-8187-1C492E55A66A}" dt="2023-10-17T10:13:40.449" v="1043"/>
          <ac:spMkLst>
            <pc:docMk/>
            <pc:sldMk cId="2065758277" sldId="2147479150"/>
            <ac:spMk id="39" creationId="{A964C765-EFDE-AB56-902C-6A5E96DFA735}"/>
          </ac:spMkLst>
        </pc:spChg>
        <pc:spChg chg="add mod">
          <ac:chgData name="Koen Verbeeck" userId="24d0e79a7fd977da" providerId="LiveId" clId="{BA5CD2F8-66DA-43DE-8187-1C492E55A66A}" dt="2023-10-17T10:13:40.449" v="1043"/>
          <ac:spMkLst>
            <pc:docMk/>
            <pc:sldMk cId="2065758277" sldId="2147479150"/>
            <ac:spMk id="44" creationId="{EF3A57CB-EE74-40F1-8853-821CE370528B}"/>
          </ac:spMkLst>
        </pc:spChg>
        <pc:spChg chg="add mod">
          <ac:chgData name="Koen Verbeeck" userId="24d0e79a7fd977da" providerId="LiveId" clId="{BA5CD2F8-66DA-43DE-8187-1C492E55A66A}" dt="2023-10-17T10:13:40.449" v="1043"/>
          <ac:spMkLst>
            <pc:docMk/>
            <pc:sldMk cId="2065758277" sldId="2147479150"/>
            <ac:spMk id="47" creationId="{A01F2477-C856-0C3F-F64D-74ADC0D52FA3}"/>
          </ac:spMkLst>
        </pc:spChg>
        <pc:spChg chg="add mod">
          <ac:chgData name="Koen Verbeeck" userId="24d0e79a7fd977da" providerId="LiveId" clId="{BA5CD2F8-66DA-43DE-8187-1C492E55A66A}" dt="2023-10-17T10:13:40.449" v="1043"/>
          <ac:spMkLst>
            <pc:docMk/>
            <pc:sldMk cId="2065758277" sldId="2147479150"/>
            <ac:spMk id="48" creationId="{13B0B907-2577-5A59-2390-D17D744880A2}"/>
          </ac:spMkLst>
        </pc:spChg>
        <pc:spChg chg="add mod">
          <ac:chgData name="Koen Verbeeck" userId="24d0e79a7fd977da" providerId="LiveId" clId="{BA5CD2F8-66DA-43DE-8187-1C492E55A66A}" dt="2023-10-17T10:13:40.449" v="1043"/>
          <ac:spMkLst>
            <pc:docMk/>
            <pc:sldMk cId="2065758277" sldId="2147479150"/>
            <ac:spMk id="50" creationId="{CCC4B416-E658-57D3-A54D-596A5A577D52}"/>
          </ac:spMkLst>
        </pc:spChg>
        <pc:spChg chg="add mod">
          <ac:chgData name="Koen Verbeeck" userId="24d0e79a7fd977da" providerId="LiveId" clId="{BA5CD2F8-66DA-43DE-8187-1C492E55A66A}" dt="2023-10-17T10:13:40.449" v="1043"/>
          <ac:spMkLst>
            <pc:docMk/>
            <pc:sldMk cId="2065758277" sldId="2147479150"/>
            <ac:spMk id="51" creationId="{E18F818B-7D30-B74D-26C7-942C3DC13A57}"/>
          </ac:spMkLst>
        </pc:spChg>
        <pc:graphicFrameChg chg="add del mod">
          <ac:chgData name="Koen Verbeeck" userId="24d0e79a7fd977da" providerId="LiveId" clId="{BA5CD2F8-66DA-43DE-8187-1C492E55A66A}" dt="2023-10-17T10:13:40.421" v="1042"/>
          <ac:graphicFrameMkLst>
            <pc:docMk/>
            <pc:sldMk cId="2065758277" sldId="2147479150"/>
            <ac:graphicFrameMk id="25" creationId="{943A2CF2-EB4B-49DF-B496-9F7DF7142982}"/>
          </ac:graphicFrameMkLst>
        </pc:graphicFrameChg>
        <pc:graphicFrameChg chg="add mod">
          <ac:chgData name="Koen Verbeeck" userId="24d0e79a7fd977da" providerId="LiveId" clId="{BA5CD2F8-66DA-43DE-8187-1C492E55A66A}" dt="2023-10-17T10:13:40.449" v="1043"/>
          <ac:graphicFrameMkLst>
            <pc:docMk/>
            <pc:sldMk cId="2065758277" sldId="2147479150"/>
            <ac:graphicFrameMk id="49" creationId="{01B75413-67B1-D72E-6598-D1530E242E17}"/>
          </ac:graphicFrameMkLst>
        </pc:graphicFrameChg>
        <pc:picChg chg="del">
          <ac:chgData name="Koen Verbeeck" userId="24d0e79a7fd977da" providerId="LiveId" clId="{BA5CD2F8-66DA-43DE-8187-1C492E55A66A}" dt="2023-10-17T10:13:37.085" v="1039" actId="478"/>
          <ac:picMkLst>
            <pc:docMk/>
            <pc:sldMk cId="2065758277" sldId="2147479150"/>
            <ac:picMk id="5" creationId="{6B8E5AC1-FC3E-8051-1F67-1BB617157958}"/>
          </ac:picMkLst>
        </pc:picChg>
        <pc:picChg chg="add del mod">
          <ac:chgData name="Koen Verbeeck" userId="24d0e79a7fd977da" providerId="LiveId" clId="{BA5CD2F8-66DA-43DE-8187-1C492E55A66A}" dt="2023-10-17T10:13:40.421" v="1042"/>
          <ac:picMkLst>
            <pc:docMk/>
            <pc:sldMk cId="2065758277" sldId="2147479150"/>
            <ac:picMk id="7" creationId="{311A2D8E-0ADB-8AAF-46D8-C8E3A9CA56FE}"/>
          </ac:picMkLst>
        </pc:picChg>
        <pc:picChg chg="add del mod">
          <ac:chgData name="Koen Verbeeck" userId="24d0e79a7fd977da" providerId="LiveId" clId="{BA5CD2F8-66DA-43DE-8187-1C492E55A66A}" dt="2023-10-17T10:13:40.421" v="1042"/>
          <ac:picMkLst>
            <pc:docMk/>
            <pc:sldMk cId="2065758277" sldId="2147479150"/>
            <ac:picMk id="8" creationId="{8EB327A7-11E4-787A-EDB0-0715A134FA14}"/>
          </ac:picMkLst>
        </pc:picChg>
        <pc:picChg chg="add del mod">
          <ac:chgData name="Koen Verbeeck" userId="24d0e79a7fd977da" providerId="LiveId" clId="{BA5CD2F8-66DA-43DE-8187-1C492E55A66A}" dt="2023-10-17T10:13:40.421" v="1042"/>
          <ac:picMkLst>
            <pc:docMk/>
            <pc:sldMk cId="2065758277" sldId="2147479150"/>
            <ac:picMk id="12" creationId="{7DC1CC8E-068C-703B-49E1-CD7D737BF72F}"/>
          </ac:picMkLst>
        </pc:picChg>
        <pc:picChg chg="add del mod">
          <ac:chgData name="Koen Verbeeck" userId="24d0e79a7fd977da" providerId="LiveId" clId="{BA5CD2F8-66DA-43DE-8187-1C492E55A66A}" dt="2023-10-17T10:13:40.421" v="1042"/>
          <ac:picMkLst>
            <pc:docMk/>
            <pc:sldMk cId="2065758277" sldId="2147479150"/>
            <ac:picMk id="13" creationId="{C8E44645-949F-87F9-BD2B-FCF6F18CD24A}"/>
          </ac:picMkLst>
        </pc:picChg>
        <pc:picChg chg="add del mod">
          <ac:chgData name="Koen Verbeeck" userId="24d0e79a7fd977da" providerId="LiveId" clId="{BA5CD2F8-66DA-43DE-8187-1C492E55A66A}" dt="2023-10-17T10:13:40.421" v="1042"/>
          <ac:picMkLst>
            <pc:docMk/>
            <pc:sldMk cId="2065758277" sldId="2147479150"/>
            <ac:picMk id="14" creationId="{D88D7473-8D95-3F5D-3A3C-7CD8A1EB4378}"/>
          </ac:picMkLst>
        </pc:picChg>
        <pc:picChg chg="add del mod">
          <ac:chgData name="Koen Verbeeck" userId="24d0e79a7fd977da" providerId="LiveId" clId="{BA5CD2F8-66DA-43DE-8187-1C492E55A66A}" dt="2023-10-17T10:13:40.421" v="1042"/>
          <ac:picMkLst>
            <pc:docMk/>
            <pc:sldMk cId="2065758277" sldId="2147479150"/>
            <ac:picMk id="16" creationId="{9092DE3A-35BD-DFCA-EC80-9F9F0FFBFF34}"/>
          </ac:picMkLst>
        </pc:picChg>
        <pc:picChg chg="add del mod">
          <ac:chgData name="Koen Verbeeck" userId="24d0e79a7fd977da" providerId="LiveId" clId="{BA5CD2F8-66DA-43DE-8187-1C492E55A66A}" dt="2023-10-17T10:13:40.421" v="1042"/>
          <ac:picMkLst>
            <pc:docMk/>
            <pc:sldMk cId="2065758277" sldId="2147479150"/>
            <ac:picMk id="17" creationId="{FF98C148-D1B1-2D08-2373-B39A955ACBC1}"/>
          </ac:picMkLst>
        </pc:picChg>
        <pc:picChg chg="add del mod">
          <ac:chgData name="Koen Verbeeck" userId="24d0e79a7fd977da" providerId="LiveId" clId="{BA5CD2F8-66DA-43DE-8187-1C492E55A66A}" dt="2023-10-17T10:13:40.421" v="1042"/>
          <ac:picMkLst>
            <pc:docMk/>
            <pc:sldMk cId="2065758277" sldId="2147479150"/>
            <ac:picMk id="18" creationId="{BB0C88BC-20E9-3DE7-A1AF-DCD7AD5DAE0F}"/>
          </ac:picMkLst>
        </pc:picChg>
        <pc:picChg chg="add del mod">
          <ac:chgData name="Koen Verbeeck" userId="24d0e79a7fd977da" providerId="LiveId" clId="{BA5CD2F8-66DA-43DE-8187-1C492E55A66A}" dt="2023-10-17T10:13:40.421" v="1042"/>
          <ac:picMkLst>
            <pc:docMk/>
            <pc:sldMk cId="2065758277" sldId="2147479150"/>
            <ac:picMk id="19" creationId="{2A28F6AF-64D4-80F8-03BE-46C408FFF2EF}"/>
          </ac:picMkLst>
        </pc:picChg>
        <pc:picChg chg="add del mod">
          <ac:chgData name="Koen Verbeeck" userId="24d0e79a7fd977da" providerId="LiveId" clId="{BA5CD2F8-66DA-43DE-8187-1C492E55A66A}" dt="2023-10-17T10:13:40.421" v="1042"/>
          <ac:picMkLst>
            <pc:docMk/>
            <pc:sldMk cId="2065758277" sldId="2147479150"/>
            <ac:picMk id="21" creationId="{24D5334C-C0EA-7381-986A-851DB8F97581}"/>
          </ac:picMkLst>
        </pc:picChg>
        <pc:picChg chg="add del mod">
          <ac:chgData name="Koen Verbeeck" userId="24d0e79a7fd977da" providerId="LiveId" clId="{BA5CD2F8-66DA-43DE-8187-1C492E55A66A}" dt="2023-10-17T10:13:40.421" v="1042"/>
          <ac:picMkLst>
            <pc:docMk/>
            <pc:sldMk cId="2065758277" sldId="2147479150"/>
            <ac:picMk id="22" creationId="{A35DD6DA-02C9-BC31-E695-FE0FAC197D39}"/>
          </ac:picMkLst>
        </pc:picChg>
        <pc:picChg chg="add mod">
          <ac:chgData name="Koen Verbeeck" userId="24d0e79a7fd977da" providerId="LiveId" clId="{BA5CD2F8-66DA-43DE-8187-1C492E55A66A}" dt="2023-10-17T10:13:40.449" v="1043"/>
          <ac:picMkLst>
            <pc:docMk/>
            <pc:sldMk cId="2065758277" sldId="2147479150"/>
            <ac:picMk id="31" creationId="{82892BEA-CA07-3386-2DAB-5F9E3B3EFCDE}"/>
          </ac:picMkLst>
        </pc:picChg>
        <pc:picChg chg="add mod">
          <ac:chgData name="Koen Verbeeck" userId="24d0e79a7fd977da" providerId="LiveId" clId="{BA5CD2F8-66DA-43DE-8187-1C492E55A66A}" dt="2023-10-17T10:13:40.449" v="1043"/>
          <ac:picMkLst>
            <pc:docMk/>
            <pc:sldMk cId="2065758277" sldId="2147479150"/>
            <ac:picMk id="32" creationId="{A17A0B2D-27E9-43B1-C5CF-4C67FAD34FC1}"/>
          </ac:picMkLst>
        </pc:picChg>
        <pc:picChg chg="add mod">
          <ac:chgData name="Koen Verbeeck" userId="24d0e79a7fd977da" providerId="LiveId" clId="{BA5CD2F8-66DA-43DE-8187-1C492E55A66A}" dt="2023-10-17T10:13:40.449" v="1043"/>
          <ac:picMkLst>
            <pc:docMk/>
            <pc:sldMk cId="2065758277" sldId="2147479150"/>
            <ac:picMk id="36" creationId="{7E4BC76A-B83A-B809-5B73-45611656F8FA}"/>
          </ac:picMkLst>
        </pc:picChg>
        <pc:picChg chg="add mod">
          <ac:chgData name="Koen Verbeeck" userId="24d0e79a7fd977da" providerId="LiveId" clId="{BA5CD2F8-66DA-43DE-8187-1C492E55A66A}" dt="2023-10-17T10:13:40.449" v="1043"/>
          <ac:picMkLst>
            <pc:docMk/>
            <pc:sldMk cId="2065758277" sldId="2147479150"/>
            <ac:picMk id="37" creationId="{6E41CA13-ED39-A1D0-479A-0DD6FA0EF7A7}"/>
          </ac:picMkLst>
        </pc:picChg>
        <pc:picChg chg="add mod">
          <ac:chgData name="Koen Verbeeck" userId="24d0e79a7fd977da" providerId="LiveId" clId="{BA5CD2F8-66DA-43DE-8187-1C492E55A66A}" dt="2023-10-17T10:13:40.449" v="1043"/>
          <ac:picMkLst>
            <pc:docMk/>
            <pc:sldMk cId="2065758277" sldId="2147479150"/>
            <ac:picMk id="38" creationId="{0E3DDE9C-E3FC-53D9-3CFC-454F116C86E6}"/>
          </ac:picMkLst>
        </pc:picChg>
        <pc:picChg chg="add mod">
          <ac:chgData name="Koen Verbeeck" userId="24d0e79a7fd977da" providerId="LiveId" clId="{BA5CD2F8-66DA-43DE-8187-1C492E55A66A}" dt="2023-10-17T10:13:40.449" v="1043"/>
          <ac:picMkLst>
            <pc:docMk/>
            <pc:sldMk cId="2065758277" sldId="2147479150"/>
            <ac:picMk id="40" creationId="{07C23B07-2F3B-EAF6-B689-7E52BA9D74D7}"/>
          </ac:picMkLst>
        </pc:picChg>
        <pc:picChg chg="add mod">
          <ac:chgData name="Koen Verbeeck" userId="24d0e79a7fd977da" providerId="LiveId" clId="{BA5CD2F8-66DA-43DE-8187-1C492E55A66A}" dt="2023-10-17T10:13:40.449" v="1043"/>
          <ac:picMkLst>
            <pc:docMk/>
            <pc:sldMk cId="2065758277" sldId="2147479150"/>
            <ac:picMk id="41" creationId="{52ADAB45-979F-1E5B-16C9-14FD80028159}"/>
          </ac:picMkLst>
        </pc:picChg>
        <pc:picChg chg="add mod">
          <ac:chgData name="Koen Verbeeck" userId="24d0e79a7fd977da" providerId="LiveId" clId="{BA5CD2F8-66DA-43DE-8187-1C492E55A66A}" dt="2023-10-17T10:13:40.449" v="1043"/>
          <ac:picMkLst>
            <pc:docMk/>
            <pc:sldMk cId="2065758277" sldId="2147479150"/>
            <ac:picMk id="42" creationId="{ED752402-C742-F288-799C-3569CDC09549}"/>
          </ac:picMkLst>
        </pc:picChg>
        <pc:picChg chg="add mod">
          <ac:chgData name="Koen Verbeeck" userId="24d0e79a7fd977da" providerId="LiveId" clId="{BA5CD2F8-66DA-43DE-8187-1C492E55A66A}" dt="2023-10-17T10:13:40.449" v="1043"/>
          <ac:picMkLst>
            <pc:docMk/>
            <pc:sldMk cId="2065758277" sldId="2147479150"/>
            <ac:picMk id="43" creationId="{92C25BA5-1A82-F801-5FDE-9230B584E768}"/>
          </ac:picMkLst>
        </pc:picChg>
        <pc:picChg chg="add mod">
          <ac:chgData name="Koen Verbeeck" userId="24d0e79a7fd977da" providerId="LiveId" clId="{BA5CD2F8-66DA-43DE-8187-1C492E55A66A}" dt="2023-10-17T10:13:40.449" v="1043"/>
          <ac:picMkLst>
            <pc:docMk/>
            <pc:sldMk cId="2065758277" sldId="2147479150"/>
            <ac:picMk id="45" creationId="{36219C0A-8659-5A69-08B3-34E2985DE75E}"/>
          </ac:picMkLst>
        </pc:picChg>
        <pc:picChg chg="add mod">
          <ac:chgData name="Koen Verbeeck" userId="24d0e79a7fd977da" providerId="LiveId" clId="{BA5CD2F8-66DA-43DE-8187-1C492E55A66A}" dt="2023-10-17T10:13:40.449" v="1043"/>
          <ac:picMkLst>
            <pc:docMk/>
            <pc:sldMk cId="2065758277" sldId="2147479150"/>
            <ac:picMk id="46" creationId="{EF3993E6-CE4B-5714-2A19-F43AB66DEE0E}"/>
          </ac:picMkLst>
        </pc:picChg>
      </pc:sldChg>
      <pc:sldChg chg="addSp delSp modSp add mod ord">
        <pc:chgData name="Koen Verbeeck" userId="24d0e79a7fd977da" providerId="LiveId" clId="{BA5CD2F8-66DA-43DE-8187-1C492E55A66A}" dt="2023-10-17T10:19:28.842" v="1063"/>
        <pc:sldMkLst>
          <pc:docMk/>
          <pc:sldMk cId="1542054416" sldId="2147479151"/>
        </pc:sldMkLst>
        <pc:spChg chg="add del mod">
          <ac:chgData name="Koen Verbeeck" userId="24d0e79a7fd977da" providerId="LiveId" clId="{BA5CD2F8-66DA-43DE-8187-1C492E55A66A}" dt="2023-10-17T10:19:25.337" v="1060"/>
          <ac:spMkLst>
            <pc:docMk/>
            <pc:sldMk cId="1542054416" sldId="2147479151"/>
            <ac:spMk id="2" creationId="{D3EA3647-DE85-6565-0C67-A7E31ABC58F6}"/>
          </ac:spMkLst>
        </pc:spChg>
        <pc:spChg chg="add del mod">
          <ac:chgData name="Koen Verbeeck" userId="24d0e79a7fd977da" providerId="LiveId" clId="{BA5CD2F8-66DA-43DE-8187-1C492E55A66A}" dt="2023-10-17T10:19:25.337" v="1060"/>
          <ac:spMkLst>
            <pc:docMk/>
            <pc:sldMk cId="1542054416" sldId="2147479151"/>
            <ac:spMk id="3" creationId="{D62AD9F7-F3D2-AEBB-490E-8E1CA260BDE1}"/>
          </ac:spMkLst>
        </pc:spChg>
        <pc:spChg chg="add mod">
          <ac:chgData name="Koen Verbeeck" userId="24d0e79a7fd977da" providerId="LiveId" clId="{BA5CD2F8-66DA-43DE-8187-1C492E55A66A}" dt="2023-10-17T10:19:28.842" v="1063"/>
          <ac:spMkLst>
            <pc:docMk/>
            <pc:sldMk cId="1542054416" sldId="2147479151"/>
            <ac:spMk id="5" creationId="{9AC5F157-A70B-58FA-C184-BE822D8E9617}"/>
          </ac:spMkLst>
        </pc:spChg>
        <pc:spChg chg="add mod">
          <ac:chgData name="Koen Verbeeck" userId="24d0e79a7fd977da" providerId="LiveId" clId="{BA5CD2F8-66DA-43DE-8187-1C492E55A66A}" dt="2023-10-17T10:19:25.389" v="1061"/>
          <ac:spMkLst>
            <pc:docMk/>
            <pc:sldMk cId="1542054416" sldId="2147479151"/>
            <ac:spMk id="6" creationId="{17EE2E00-B772-2296-20D4-24AF35D55B80}"/>
          </ac:spMkLst>
        </pc:spChg>
        <pc:spChg chg="del">
          <ac:chgData name="Koen Verbeeck" userId="24d0e79a7fd977da" providerId="LiveId" clId="{BA5CD2F8-66DA-43DE-8187-1C492E55A66A}" dt="2023-10-17T10:19:15.463" v="1058" actId="478"/>
          <ac:spMkLst>
            <pc:docMk/>
            <pc:sldMk cId="1542054416" sldId="2147479151"/>
            <ac:spMk id="28" creationId="{789907BB-8A25-4507-79B4-B968083CCB3E}"/>
          </ac:spMkLst>
        </pc:spChg>
        <pc:spChg chg="del">
          <ac:chgData name="Koen Verbeeck" userId="24d0e79a7fd977da" providerId="LiveId" clId="{BA5CD2F8-66DA-43DE-8187-1C492E55A66A}" dt="2023-10-17T10:19:15.463" v="1058" actId="478"/>
          <ac:spMkLst>
            <pc:docMk/>
            <pc:sldMk cId="1542054416" sldId="2147479151"/>
            <ac:spMk id="30" creationId="{D4742254-2784-1337-8F51-703DBBA2E623}"/>
          </ac:spMkLst>
        </pc:spChg>
        <pc:spChg chg="del">
          <ac:chgData name="Koen Verbeeck" userId="24d0e79a7fd977da" providerId="LiveId" clId="{BA5CD2F8-66DA-43DE-8187-1C492E55A66A}" dt="2023-10-17T10:19:15.463" v="1058" actId="478"/>
          <ac:spMkLst>
            <pc:docMk/>
            <pc:sldMk cId="1542054416" sldId="2147479151"/>
            <ac:spMk id="33" creationId="{0600E0D1-1D05-115C-6C55-FCB491AC14DE}"/>
          </ac:spMkLst>
        </pc:spChg>
        <pc:spChg chg="del">
          <ac:chgData name="Koen Verbeeck" userId="24d0e79a7fd977da" providerId="LiveId" clId="{BA5CD2F8-66DA-43DE-8187-1C492E55A66A}" dt="2023-10-17T10:19:15.463" v="1058" actId="478"/>
          <ac:spMkLst>
            <pc:docMk/>
            <pc:sldMk cId="1542054416" sldId="2147479151"/>
            <ac:spMk id="34" creationId="{88D9E3D5-29A8-8F3C-6F9D-8812E21B2A5D}"/>
          </ac:spMkLst>
        </pc:spChg>
        <pc:spChg chg="del">
          <ac:chgData name="Koen Verbeeck" userId="24d0e79a7fd977da" providerId="LiveId" clId="{BA5CD2F8-66DA-43DE-8187-1C492E55A66A}" dt="2023-10-17T10:19:15.463" v="1058" actId="478"/>
          <ac:spMkLst>
            <pc:docMk/>
            <pc:sldMk cId="1542054416" sldId="2147479151"/>
            <ac:spMk id="35" creationId="{CB389A40-9075-1A63-86E5-657C2FF09199}"/>
          </ac:spMkLst>
        </pc:spChg>
        <pc:spChg chg="del">
          <ac:chgData name="Koen Verbeeck" userId="24d0e79a7fd977da" providerId="LiveId" clId="{BA5CD2F8-66DA-43DE-8187-1C492E55A66A}" dt="2023-10-17T10:19:15.463" v="1058" actId="478"/>
          <ac:spMkLst>
            <pc:docMk/>
            <pc:sldMk cId="1542054416" sldId="2147479151"/>
            <ac:spMk id="39" creationId="{A964C765-EFDE-AB56-902C-6A5E96DFA735}"/>
          </ac:spMkLst>
        </pc:spChg>
        <pc:spChg chg="del">
          <ac:chgData name="Koen Verbeeck" userId="24d0e79a7fd977da" providerId="LiveId" clId="{BA5CD2F8-66DA-43DE-8187-1C492E55A66A}" dt="2023-10-17T10:19:15.463" v="1058" actId="478"/>
          <ac:spMkLst>
            <pc:docMk/>
            <pc:sldMk cId="1542054416" sldId="2147479151"/>
            <ac:spMk id="44" creationId="{EF3A57CB-EE74-40F1-8853-821CE370528B}"/>
          </ac:spMkLst>
        </pc:spChg>
        <pc:spChg chg="del">
          <ac:chgData name="Koen Verbeeck" userId="24d0e79a7fd977da" providerId="LiveId" clId="{BA5CD2F8-66DA-43DE-8187-1C492E55A66A}" dt="2023-10-17T10:19:15.463" v="1058" actId="478"/>
          <ac:spMkLst>
            <pc:docMk/>
            <pc:sldMk cId="1542054416" sldId="2147479151"/>
            <ac:spMk id="47" creationId="{A01F2477-C856-0C3F-F64D-74ADC0D52FA3}"/>
          </ac:spMkLst>
        </pc:spChg>
        <pc:spChg chg="del">
          <ac:chgData name="Koen Verbeeck" userId="24d0e79a7fd977da" providerId="LiveId" clId="{BA5CD2F8-66DA-43DE-8187-1C492E55A66A}" dt="2023-10-17T10:19:15.463" v="1058" actId="478"/>
          <ac:spMkLst>
            <pc:docMk/>
            <pc:sldMk cId="1542054416" sldId="2147479151"/>
            <ac:spMk id="48" creationId="{13B0B907-2577-5A59-2390-D17D744880A2}"/>
          </ac:spMkLst>
        </pc:spChg>
        <pc:spChg chg="del">
          <ac:chgData name="Koen Verbeeck" userId="24d0e79a7fd977da" providerId="LiveId" clId="{BA5CD2F8-66DA-43DE-8187-1C492E55A66A}" dt="2023-10-17T10:19:15.463" v="1058" actId="478"/>
          <ac:spMkLst>
            <pc:docMk/>
            <pc:sldMk cId="1542054416" sldId="2147479151"/>
            <ac:spMk id="50" creationId="{CCC4B416-E658-57D3-A54D-596A5A577D52}"/>
          </ac:spMkLst>
        </pc:spChg>
        <pc:spChg chg="del">
          <ac:chgData name="Koen Verbeeck" userId="24d0e79a7fd977da" providerId="LiveId" clId="{BA5CD2F8-66DA-43DE-8187-1C492E55A66A}" dt="2023-10-17T10:19:15.463" v="1058" actId="478"/>
          <ac:spMkLst>
            <pc:docMk/>
            <pc:sldMk cId="1542054416" sldId="2147479151"/>
            <ac:spMk id="51" creationId="{E18F818B-7D30-B74D-26C7-942C3DC13A57}"/>
          </ac:spMkLst>
        </pc:spChg>
        <pc:graphicFrameChg chg="del">
          <ac:chgData name="Koen Verbeeck" userId="24d0e79a7fd977da" providerId="LiveId" clId="{BA5CD2F8-66DA-43DE-8187-1C492E55A66A}" dt="2023-10-17T10:19:15.463" v="1058" actId="478"/>
          <ac:graphicFrameMkLst>
            <pc:docMk/>
            <pc:sldMk cId="1542054416" sldId="2147479151"/>
            <ac:graphicFrameMk id="49" creationId="{01B75413-67B1-D72E-6598-D1530E242E17}"/>
          </ac:graphicFrameMkLst>
        </pc:graphicFrameChg>
        <pc:picChg chg="add del mod">
          <ac:chgData name="Koen Verbeeck" userId="24d0e79a7fd977da" providerId="LiveId" clId="{BA5CD2F8-66DA-43DE-8187-1C492E55A66A}" dt="2023-10-17T10:19:25.337" v="1060"/>
          <ac:picMkLst>
            <pc:docMk/>
            <pc:sldMk cId="1542054416" sldId="2147479151"/>
            <ac:picMk id="4" creationId="{D8171AE9-91CD-47C5-A17C-2785D218DC3F}"/>
          </ac:picMkLst>
        </pc:picChg>
        <pc:picChg chg="add mod">
          <ac:chgData name="Koen Verbeeck" userId="24d0e79a7fd977da" providerId="LiveId" clId="{BA5CD2F8-66DA-43DE-8187-1C492E55A66A}" dt="2023-10-17T10:19:25.389" v="1061"/>
          <ac:picMkLst>
            <pc:docMk/>
            <pc:sldMk cId="1542054416" sldId="2147479151"/>
            <ac:picMk id="7" creationId="{27C3E89C-AD57-6304-3122-141FC151EAA4}"/>
          </ac:picMkLst>
        </pc:picChg>
        <pc:picChg chg="del">
          <ac:chgData name="Koen Verbeeck" userId="24d0e79a7fd977da" providerId="LiveId" clId="{BA5CD2F8-66DA-43DE-8187-1C492E55A66A}" dt="2023-10-17T10:19:15.463" v="1058" actId="478"/>
          <ac:picMkLst>
            <pc:docMk/>
            <pc:sldMk cId="1542054416" sldId="2147479151"/>
            <ac:picMk id="31" creationId="{82892BEA-CA07-3386-2DAB-5F9E3B3EFCDE}"/>
          </ac:picMkLst>
        </pc:picChg>
        <pc:picChg chg="del">
          <ac:chgData name="Koen Verbeeck" userId="24d0e79a7fd977da" providerId="LiveId" clId="{BA5CD2F8-66DA-43DE-8187-1C492E55A66A}" dt="2023-10-17T10:19:15.463" v="1058" actId="478"/>
          <ac:picMkLst>
            <pc:docMk/>
            <pc:sldMk cId="1542054416" sldId="2147479151"/>
            <ac:picMk id="32" creationId="{A17A0B2D-27E9-43B1-C5CF-4C67FAD34FC1}"/>
          </ac:picMkLst>
        </pc:picChg>
        <pc:picChg chg="del">
          <ac:chgData name="Koen Verbeeck" userId="24d0e79a7fd977da" providerId="LiveId" clId="{BA5CD2F8-66DA-43DE-8187-1C492E55A66A}" dt="2023-10-17T10:19:15.463" v="1058" actId="478"/>
          <ac:picMkLst>
            <pc:docMk/>
            <pc:sldMk cId="1542054416" sldId="2147479151"/>
            <ac:picMk id="36" creationId="{7E4BC76A-B83A-B809-5B73-45611656F8FA}"/>
          </ac:picMkLst>
        </pc:picChg>
        <pc:picChg chg="del">
          <ac:chgData name="Koen Verbeeck" userId="24d0e79a7fd977da" providerId="LiveId" clId="{BA5CD2F8-66DA-43DE-8187-1C492E55A66A}" dt="2023-10-17T10:19:15.463" v="1058" actId="478"/>
          <ac:picMkLst>
            <pc:docMk/>
            <pc:sldMk cId="1542054416" sldId="2147479151"/>
            <ac:picMk id="37" creationId="{6E41CA13-ED39-A1D0-479A-0DD6FA0EF7A7}"/>
          </ac:picMkLst>
        </pc:picChg>
        <pc:picChg chg="del">
          <ac:chgData name="Koen Verbeeck" userId="24d0e79a7fd977da" providerId="LiveId" clId="{BA5CD2F8-66DA-43DE-8187-1C492E55A66A}" dt="2023-10-17T10:19:15.463" v="1058" actId="478"/>
          <ac:picMkLst>
            <pc:docMk/>
            <pc:sldMk cId="1542054416" sldId="2147479151"/>
            <ac:picMk id="38" creationId="{0E3DDE9C-E3FC-53D9-3CFC-454F116C86E6}"/>
          </ac:picMkLst>
        </pc:picChg>
        <pc:picChg chg="del">
          <ac:chgData name="Koen Verbeeck" userId="24d0e79a7fd977da" providerId="LiveId" clId="{BA5CD2F8-66DA-43DE-8187-1C492E55A66A}" dt="2023-10-17T10:19:15.463" v="1058" actId="478"/>
          <ac:picMkLst>
            <pc:docMk/>
            <pc:sldMk cId="1542054416" sldId="2147479151"/>
            <ac:picMk id="40" creationId="{07C23B07-2F3B-EAF6-B689-7E52BA9D74D7}"/>
          </ac:picMkLst>
        </pc:picChg>
        <pc:picChg chg="del">
          <ac:chgData name="Koen Verbeeck" userId="24d0e79a7fd977da" providerId="LiveId" clId="{BA5CD2F8-66DA-43DE-8187-1C492E55A66A}" dt="2023-10-17T10:19:15.463" v="1058" actId="478"/>
          <ac:picMkLst>
            <pc:docMk/>
            <pc:sldMk cId="1542054416" sldId="2147479151"/>
            <ac:picMk id="41" creationId="{52ADAB45-979F-1E5B-16C9-14FD80028159}"/>
          </ac:picMkLst>
        </pc:picChg>
        <pc:picChg chg="del">
          <ac:chgData name="Koen Verbeeck" userId="24d0e79a7fd977da" providerId="LiveId" clId="{BA5CD2F8-66DA-43DE-8187-1C492E55A66A}" dt="2023-10-17T10:19:15.463" v="1058" actId="478"/>
          <ac:picMkLst>
            <pc:docMk/>
            <pc:sldMk cId="1542054416" sldId="2147479151"/>
            <ac:picMk id="42" creationId="{ED752402-C742-F288-799C-3569CDC09549}"/>
          </ac:picMkLst>
        </pc:picChg>
        <pc:picChg chg="del">
          <ac:chgData name="Koen Verbeeck" userId="24d0e79a7fd977da" providerId="LiveId" clId="{BA5CD2F8-66DA-43DE-8187-1C492E55A66A}" dt="2023-10-17T10:19:15.463" v="1058" actId="478"/>
          <ac:picMkLst>
            <pc:docMk/>
            <pc:sldMk cId="1542054416" sldId="2147479151"/>
            <ac:picMk id="43" creationId="{92C25BA5-1A82-F801-5FDE-9230B584E768}"/>
          </ac:picMkLst>
        </pc:picChg>
        <pc:picChg chg="del">
          <ac:chgData name="Koen Verbeeck" userId="24d0e79a7fd977da" providerId="LiveId" clId="{BA5CD2F8-66DA-43DE-8187-1C492E55A66A}" dt="2023-10-17T10:19:15.463" v="1058" actId="478"/>
          <ac:picMkLst>
            <pc:docMk/>
            <pc:sldMk cId="1542054416" sldId="2147479151"/>
            <ac:picMk id="45" creationId="{36219C0A-8659-5A69-08B3-34E2985DE75E}"/>
          </ac:picMkLst>
        </pc:picChg>
        <pc:picChg chg="del">
          <ac:chgData name="Koen Verbeeck" userId="24d0e79a7fd977da" providerId="LiveId" clId="{BA5CD2F8-66DA-43DE-8187-1C492E55A66A}" dt="2023-10-17T10:19:15.463" v="1058" actId="478"/>
          <ac:picMkLst>
            <pc:docMk/>
            <pc:sldMk cId="1542054416" sldId="2147479151"/>
            <ac:picMk id="46" creationId="{EF3993E6-CE4B-5714-2A19-F43AB66DEE0E}"/>
          </ac:picMkLst>
        </pc:picChg>
      </pc:sldChg>
      <pc:sldChg chg="addSp delSp modSp add mod modNotesTx">
        <pc:chgData name="Koen Verbeeck" userId="24d0e79a7fd977da" providerId="LiveId" clId="{BA5CD2F8-66DA-43DE-8187-1C492E55A66A}" dt="2023-10-17T10:16:37.846" v="1057" actId="20577"/>
        <pc:sldMkLst>
          <pc:docMk/>
          <pc:sldMk cId="3442810152" sldId="2147479152"/>
        </pc:sldMkLst>
        <pc:spChg chg="add del mod">
          <ac:chgData name="Koen Verbeeck" userId="24d0e79a7fd977da" providerId="LiveId" clId="{BA5CD2F8-66DA-43DE-8187-1C492E55A66A}" dt="2023-10-17T10:16:21.673" v="1053"/>
          <ac:spMkLst>
            <pc:docMk/>
            <pc:sldMk cId="3442810152" sldId="2147479152"/>
            <ac:spMk id="2" creationId="{655159CD-BFB0-96F8-BFDB-75FD228C2336}"/>
          </ac:spMkLst>
        </pc:spChg>
        <pc:spChg chg="add del mod">
          <ac:chgData name="Koen Verbeeck" userId="24d0e79a7fd977da" providerId="LiveId" clId="{BA5CD2F8-66DA-43DE-8187-1C492E55A66A}" dt="2023-10-17T10:16:21.673" v="1053"/>
          <ac:spMkLst>
            <pc:docMk/>
            <pc:sldMk cId="3442810152" sldId="2147479152"/>
            <ac:spMk id="3" creationId="{FA4A0199-2F2B-790D-19CB-843848F6CD26}"/>
          </ac:spMkLst>
        </pc:spChg>
        <pc:spChg chg="add del mod">
          <ac:chgData name="Koen Verbeeck" userId="24d0e79a7fd977da" providerId="LiveId" clId="{BA5CD2F8-66DA-43DE-8187-1C492E55A66A}" dt="2023-10-17T10:16:21.673" v="1053"/>
          <ac:spMkLst>
            <pc:docMk/>
            <pc:sldMk cId="3442810152" sldId="2147479152"/>
            <ac:spMk id="4" creationId="{1D448182-7C00-8163-89AF-05C418871716}"/>
          </ac:spMkLst>
        </pc:spChg>
        <pc:spChg chg="add del mod">
          <ac:chgData name="Koen Verbeeck" userId="24d0e79a7fd977da" providerId="LiveId" clId="{BA5CD2F8-66DA-43DE-8187-1C492E55A66A}" dt="2023-10-17T10:16:21.673" v="1053"/>
          <ac:spMkLst>
            <pc:docMk/>
            <pc:sldMk cId="3442810152" sldId="2147479152"/>
            <ac:spMk id="6" creationId="{271CBC90-05BD-6CBA-5934-72B155344DB0}"/>
          </ac:spMkLst>
        </pc:spChg>
        <pc:spChg chg="add del mod">
          <ac:chgData name="Koen Verbeeck" userId="24d0e79a7fd977da" providerId="LiveId" clId="{BA5CD2F8-66DA-43DE-8187-1C492E55A66A}" dt="2023-10-17T10:16:21.673" v="1053"/>
          <ac:spMkLst>
            <pc:docMk/>
            <pc:sldMk cId="3442810152" sldId="2147479152"/>
            <ac:spMk id="8" creationId="{961C42F1-0A5D-0B11-B072-474ADB13C62E}"/>
          </ac:spMkLst>
        </pc:spChg>
        <pc:spChg chg="add del mod">
          <ac:chgData name="Koen Verbeeck" userId="24d0e79a7fd977da" providerId="LiveId" clId="{BA5CD2F8-66DA-43DE-8187-1C492E55A66A}" dt="2023-10-17T10:16:21.673" v="1053"/>
          <ac:spMkLst>
            <pc:docMk/>
            <pc:sldMk cId="3442810152" sldId="2147479152"/>
            <ac:spMk id="10" creationId="{648F9103-C5CE-BA65-BB6B-967AC665CA2D}"/>
          </ac:spMkLst>
        </pc:spChg>
        <pc:spChg chg="add del mod">
          <ac:chgData name="Koen Verbeeck" userId="24d0e79a7fd977da" providerId="LiveId" clId="{BA5CD2F8-66DA-43DE-8187-1C492E55A66A}" dt="2023-10-17T10:16:21.673" v="1053"/>
          <ac:spMkLst>
            <pc:docMk/>
            <pc:sldMk cId="3442810152" sldId="2147479152"/>
            <ac:spMk id="11" creationId="{59EB8096-0DD8-CAF0-8DEF-B3CCBBB05AA6}"/>
          </ac:spMkLst>
        </pc:spChg>
        <pc:spChg chg="add del mod">
          <ac:chgData name="Koen Verbeeck" userId="24d0e79a7fd977da" providerId="LiveId" clId="{BA5CD2F8-66DA-43DE-8187-1C492E55A66A}" dt="2023-10-17T10:16:21.673" v="1053"/>
          <ac:spMkLst>
            <pc:docMk/>
            <pc:sldMk cId="3442810152" sldId="2147479152"/>
            <ac:spMk id="12" creationId="{CCA5F6A8-D5CF-29ED-47F3-CA0CEDA9D970}"/>
          </ac:spMkLst>
        </pc:spChg>
        <pc:spChg chg="add del mod">
          <ac:chgData name="Koen Verbeeck" userId="24d0e79a7fd977da" providerId="LiveId" clId="{BA5CD2F8-66DA-43DE-8187-1C492E55A66A}" dt="2023-10-17T10:16:21.673" v="1053"/>
          <ac:spMkLst>
            <pc:docMk/>
            <pc:sldMk cId="3442810152" sldId="2147479152"/>
            <ac:spMk id="13" creationId="{B927957A-D485-91EB-FB91-FFA3DD3A08C5}"/>
          </ac:spMkLst>
        </pc:spChg>
        <pc:spChg chg="add del mod">
          <ac:chgData name="Koen Verbeeck" userId="24d0e79a7fd977da" providerId="LiveId" clId="{BA5CD2F8-66DA-43DE-8187-1C492E55A66A}" dt="2023-10-17T10:16:21.673" v="1053"/>
          <ac:spMkLst>
            <pc:docMk/>
            <pc:sldMk cId="3442810152" sldId="2147479152"/>
            <ac:spMk id="14" creationId="{ABF6D17D-B888-A7CF-852D-A02F169A1816}"/>
          </ac:spMkLst>
        </pc:spChg>
        <pc:spChg chg="add del mod">
          <ac:chgData name="Koen Verbeeck" userId="24d0e79a7fd977da" providerId="LiveId" clId="{BA5CD2F8-66DA-43DE-8187-1C492E55A66A}" dt="2023-10-17T10:16:21.673" v="1053"/>
          <ac:spMkLst>
            <pc:docMk/>
            <pc:sldMk cId="3442810152" sldId="2147479152"/>
            <ac:spMk id="15" creationId="{D452EF0D-6ED1-7C9A-DA60-CB9EEDE0C755}"/>
          </ac:spMkLst>
        </pc:spChg>
        <pc:spChg chg="add mod">
          <ac:chgData name="Koen Verbeeck" userId="24d0e79a7fd977da" providerId="LiveId" clId="{BA5CD2F8-66DA-43DE-8187-1C492E55A66A}" dt="2023-10-17T10:16:21.687" v="1054"/>
          <ac:spMkLst>
            <pc:docMk/>
            <pc:sldMk cId="3442810152" sldId="2147479152"/>
            <ac:spMk id="16" creationId="{7A175F84-1287-688A-06FE-AE7B27FABA8D}"/>
          </ac:spMkLst>
        </pc:spChg>
        <pc:spChg chg="add mod">
          <ac:chgData name="Koen Verbeeck" userId="24d0e79a7fd977da" providerId="LiveId" clId="{BA5CD2F8-66DA-43DE-8187-1C492E55A66A}" dt="2023-10-17T10:16:21.687" v="1054"/>
          <ac:spMkLst>
            <pc:docMk/>
            <pc:sldMk cId="3442810152" sldId="2147479152"/>
            <ac:spMk id="17" creationId="{165410EC-3FB3-6B97-566B-88F14418B769}"/>
          </ac:spMkLst>
        </pc:spChg>
        <pc:spChg chg="add mod">
          <ac:chgData name="Koen Verbeeck" userId="24d0e79a7fd977da" providerId="LiveId" clId="{BA5CD2F8-66DA-43DE-8187-1C492E55A66A}" dt="2023-10-17T10:16:21.687" v="1054"/>
          <ac:spMkLst>
            <pc:docMk/>
            <pc:sldMk cId="3442810152" sldId="2147479152"/>
            <ac:spMk id="18" creationId="{8AD88760-12E0-0EF6-2766-5CD397030B23}"/>
          </ac:spMkLst>
        </pc:spChg>
        <pc:spChg chg="add mod">
          <ac:chgData name="Koen Verbeeck" userId="24d0e79a7fd977da" providerId="LiveId" clId="{BA5CD2F8-66DA-43DE-8187-1C492E55A66A}" dt="2023-10-17T10:16:21.687" v="1054"/>
          <ac:spMkLst>
            <pc:docMk/>
            <pc:sldMk cId="3442810152" sldId="2147479152"/>
            <ac:spMk id="20" creationId="{B08A15EE-3BBD-F33C-96FE-12F323E46507}"/>
          </ac:spMkLst>
        </pc:spChg>
        <pc:spChg chg="add mod">
          <ac:chgData name="Koen Verbeeck" userId="24d0e79a7fd977da" providerId="LiveId" clId="{BA5CD2F8-66DA-43DE-8187-1C492E55A66A}" dt="2023-10-17T10:16:21.687" v="1054"/>
          <ac:spMkLst>
            <pc:docMk/>
            <pc:sldMk cId="3442810152" sldId="2147479152"/>
            <ac:spMk id="22" creationId="{0C83D84A-DA69-1F01-1793-C59CC3671175}"/>
          </ac:spMkLst>
        </pc:spChg>
        <pc:spChg chg="add mod">
          <ac:chgData name="Koen Verbeeck" userId="24d0e79a7fd977da" providerId="LiveId" clId="{BA5CD2F8-66DA-43DE-8187-1C492E55A66A}" dt="2023-10-17T10:16:21.687" v="1054"/>
          <ac:spMkLst>
            <pc:docMk/>
            <pc:sldMk cId="3442810152" sldId="2147479152"/>
            <ac:spMk id="24" creationId="{32E8438E-705D-5E46-DD56-4AC56ACF7AF9}"/>
          </ac:spMkLst>
        </pc:spChg>
        <pc:spChg chg="add mod">
          <ac:chgData name="Koen Verbeeck" userId="24d0e79a7fd977da" providerId="LiveId" clId="{BA5CD2F8-66DA-43DE-8187-1C492E55A66A}" dt="2023-10-17T10:16:21.687" v="1054"/>
          <ac:spMkLst>
            <pc:docMk/>
            <pc:sldMk cId="3442810152" sldId="2147479152"/>
            <ac:spMk id="25" creationId="{B050C3A1-63E1-97A1-7561-9459414AD616}"/>
          </ac:spMkLst>
        </pc:spChg>
        <pc:spChg chg="add mod">
          <ac:chgData name="Koen Verbeeck" userId="24d0e79a7fd977da" providerId="LiveId" clId="{BA5CD2F8-66DA-43DE-8187-1C492E55A66A}" dt="2023-10-17T10:16:21.687" v="1054"/>
          <ac:spMkLst>
            <pc:docMk/>
            <pc:sldMk cId="3442810152" sldId="2147479152"/>
            <ac:spMk id="26" creationId="{444B5B59-5A38-1C66-0961-E9163A20D73F}"/>
          </ac:spMkLst>
        </pc:spChg>
        <pc:spChg chg="add mod">
          <ac:chgData name="Koen Verbeeck" userId="24d0e79a7fd977da" providerId="LiveId" clId="{BA5CD2F8-66DA-43DE-8187-1C492E55A66A}" dt="2023-10-17T10:16:21.687" v="1054"/>
          <ac:spMkLst>
            <pc:docMk/>
            <pc:sldMk cId="3442810152" sldId="2147479152"/>
            <ac:spMk id="27" creationId="{3BFA3FD5-6870-D391-D977-3E6B1E8E7C59}"/>
          </ac:spMkLst>
        </pc:spChg>
        <pc:spChg chg="del">
          <ac:chgData name="Koen Verbeeck" userId="24d0e79a7fd977da" providerId="LiveId" clId="{BA5CD2F8-66DA-43DE-8187-1C492E55A66A}" dt="2023-10-17T10:16:11.304" v="1049" actId="478"/>
          <ac:spMkLst>
            <pc:docMk/>
            <pc:sldMk cId="3442810152" sldId="2147479152"/>
            <ac:spMk id="28" creationId="{789907BB-8A25-4507-79B4-B968083CCB3E}"/>
          </ac:spMkLst>
        </pc:spChg>
        <pc:spChg chg="add mod">
          <ac:chgData name="Koen Verbeeck" userId="24d0e79a7fd977da" providerId="LiveId" clId="{BA5CD2F8-66DA-43DE-8187-1C492E55A66A}" dt="2023-10-17T10:16:21.687" v="1054"/>
          <ac:spMkLst>
            <pc:docMk/>
            <pc:sldMk cId="3442810152" sldId="2147479152"/>
            <ac:spMk id="29" creationId="{5D082CA8-270E-A271-09FA-ADBCE7A5A589}"/>
          </ac:spMkLst>
        </pc:spChg>
        <pc:spChg chg="del">
          <ac:chgData name="Koen Verbeeck" userId="24d0e79a7fd977da" providerId="LiveId" clId="{BA5CD2F8-66DA-43DE-8187-1C492E55A66A}" dt="2023-10-17T10:16:11.304" v="1049" actId="478"/>
          <ac:spMkLst>
            <pc:docMk/>
            <pc:sldMk cId="3442810152" sldId="2147479152"/>
            <ac:spMk id="30" creationId="{D4742254-2784-1337-8F51-703DBBA2E623}"/>
          </ac:spMkLst>
        </pc:spChg>
        <pc:spChg chg="del">
          <ac:chgData name="Koen Verbeeck" userId="24d0e79a7fd977da" providerId="LiveId" clId="{BA5CD2F8-66DA-43DE-8187-1C492E55A66A}" dt="2023-10-17T10:16:11.304" v="1049" actId="478"/>
          <ac:spMkLst>
            <pc:docMk/>
            <pc:sldMk cId="3442810152" sldId="2147479152"/>
            <ac:spMk id="33" creationId="{0600E0D1-1D05-115C-6C55-FCB491AC14DE}"/>
          </ac:spMkLst>
        </pc:spChg>
        <pc:spChg chg="del">
          <ac:chgData name="Koen Verbeeck" userId="24d0e79a7fd977da" providerId="LiveId" clId="{BA5CD2F8-66DA-43DE-8187-1C492E55A66A}" dt="2023-10-17T10:16:11.304" v="1049" actId="478"/>
          <ac:spMkLst>
            <pc:docMk/>
            <pc:sldMk cId="3442810152" sldId="2147479152"/>
            <ac:spMk id="34" creationId="{88D9E3D5-29A8-8F3C-6F9D-8812E21B2A5D}"/>
          </ac:spMkLst>
        </pc:spChg>
        <pc:spChg chg="del">
          <ac:chgData name="Koen Verbeeck" userId="24d0e79a7fd977da" providerId="LiveId" clId="{BA5CD2F8-66DA-43DE-8187-1C492E55A66A}" dt="2023-10-17T10:16:11.304" v="1049" actId="478"/>
          <ac:spMkLst>
            <pc:docMk/>
            <pc:sldMk cId="3442810152" sldId="2147479152"/>
            <ac:spMk id="35" creationId="{CB389A40-9075-1A63-86E5-657C2FF09199}"/>
          </ac:spMkLst>
        </pc:spChg>
        <pc:spChg chg="del">
          <ac:chgData name="Koen Verbeeck" userId="24d0e79a7fd977da" providerId="LiveId" clId="{BA5CD2F8-66DA-43DE-8187-1C492E55A66A}" dt="2023-10-17T10:16:11.304" v="1049" actId="478"/>
          <ac:spMkLst>
            <pc:docMk/>
            <pc:sldMk cId="3442810152" sldId="2147479152"/>
            <ac:spMk id="39" creationId="{A964C765-EFDE-AB56-902C-6A5E96DFA735}"/>
          </ac:spMkLst>
        </pc:spChg>
        <pc:spChg chg="del">
          <ac:chgData name="Koen Verbeeck" userId="24d0e79a7fd977da" providerId="LiveId" clId="{BA5CD2F8-66DA-43DE-8187-1C492E55A66A}" dt="2023-10-17T10:16:11.304" v="1049" actId="478"/>
          <ac:spMkLst>
            <pc:docMk/>
            <pc:sldMk cId="3442810152" sldId="2147479152"/>
            <ac:spMk id="44" creationId="{EF3A57CB-EE74-40F1-8853-821CE370528B}"/>
          </ac:spMkLst>
        </pc:spChg>
        <pc:spChg chg="del">
          <ac:chgData name="Koen Verbeeck" userId="24d0e79a7fd977da" providerId="LiveId" clId="{BA5CD2F8-66DA-43DE-8187-1C492E55A66A}" dt="2023-10-17T10:16:11.304" v="1049" actId="478"/>
          <ac:spMkLst>
            <pc:docMk/>
            <pc:sldMk cId="3442810152" sldId="2147479152"/>
            <ac:spMk id="47" creationId="{A01F2477-C856-0C3F-F64D-74ADC0D52FA3}"/>
          </ac:spMkLst>
        </pc:spChg>
        <pc:spChg chg="del">
          <ac:chgData name="Koen Verbeeck" userId="24d0e79a7fd977da" providerId="LiveId" clId="{BA5CD2F8-66DA-43DE-8187-1C492E55A66A}" dt="2023-10-17T10:16:11.304" v="1049" actId="478"/>
          <ac:spMkLst>
            <pc:docMk/>
            <pc:sldMk cId="3442810152" sldId="2147479152"/>
            <ac:spMk id="48" creationId="{13B0B907-2577-5A59-2390-D17D744880A2}"/>
          </ac:spMkLst>
        </pc:spChg>
        <pc:spChg chg="del">
          <ac:chgData name="Koen Verbeeck" userId="24d0e79a7fd977da" providerId="LiveId" clId="{BA5CD2F8-66DA-43DE-8187-1C492E55A66A}" dt="2023-10-17T10:16:11.304" v="1049" actId="478"/>
          <ac:spMkLst>
            <pc:docMk/>
            <pc:sldMk cId="3442810152" sldId="2147479152"/>
            <ac:spMk id="50" creationId="{CCC4B416-E658-57D3-A54D-596A5A577D52}"/>
          </ac:spMkLst>
        </pc:spChg>
        <pc:spChg chg="del">
          <ac:chgData name="Koen Verbeeck" userId="24d0e79a7fd977da" providerId="LiveId" clId="{BA5CD2F8-66DA-43DE-8187-1C492E55A66A}" dt="2023-10-17T10:16:11.304" v="1049" actId="478"/>
          <ac:spMkLst>
            <pc:docMk/>
            <pc:sldMk cId="3442810152" sldId="2147479152"/>
            <ac:spMk id="51" creationId="{E18F818B-7D30-B74D-26C7-942C3DC13A57}"/>
          </ac:spMkLst>
        </pc:spChg>
        <pc:spChg chg="add mod">
          <ac:chgData name="Koen Verbeeck" userId="24d0e79a7fd977da" providerId="LiveId" clId="{BA5CD2F8-66DA-43DE-8187-1C492E55A66A}" dt="2023-10-17T10:16:21.687" v="1054"/>
          <ac:spMkLst>
            <pc:docMk/>
            <pc:sldMk cId="3442810152" sldId="2147479152"/>
            <ac:spMk id="52" creationId="{41FB4A8C-D33C-AB7A-33E7-531175EA6DC4}"/>
          </ac:spMkLst>
        </pc:spChg>
        <pc:graphicFrameChg chg="del">
          <ac:chgData name="Koen Verbeeck" userId="24d0e79a7fd977da" providerId="LiveId" clId="{BA5CD2F8-66DA-43DE-8187-1C492E55A66A}" dt="2023-10-17T10:16:11.304" v="1049" actId="478"/>
          <ac:graphicFrameMkLst>
            <pc:docMk/>
            <pc:sldMk cId="3442810152" sldId="2147479152"/>
            <ac:graphicFrameMk id="49" creationId="{01B75413-67B1-D72E-6598-D1530E242E17}"/>
          </ac:graphicFrameMkLst>
        </pc:graphicFrameChg>
        <pc:picChg chg="add del mod">
          <ac:chgData name="Koen Verbeeck" userId="24d0e79a7fd977da" providerId="LiveId" clId="{BA5CD2F8-66DA-43DE-8187-1C492E55A66A}" dt="2023-10-17T10:16:21.673" v="1053"/>
          <ac:picMkLst>
            <pc:docMk/>
            <pc:sldMk cId="3442810152" sldId="2147479152"/>
            <ac:picMk id="5" creationId="{17F3F6DC-3135-6881-8C53-A45AED3AF329}"/>
          </ac:picMkLst>
        </pc:picChg>
        <pc:picChg chg="add del mod">
          <ac:chgData name="Koen Verbeeck" userId="24d0e79a7fd977da" providerId="LiveId" clId="{BA5CD2F8-66DA-43DE-8187-1C492E55A66A}" dt="2023-10-17T10:16:21.673" v="1053"/>
          <ac:picMkLst>
            <pc:docMk/>
            <pc:sldMk cId="3442810152" sldId="2147479152"/>
            <ac:picMk id="7" creationId="{FBD661AC-E460-9AAC-BE4B-536CCFFBE23D}"/>
          </ac:picMkLst>
        </pc:picChg>
        <pc:picChg chg="add del mod">
          <ac:chgData name="Koen Verbeeck" userId="24d0e79a7fd977da" providerId="LiveId" clId="{BA5CD2F8-66DA-43DE-8187-1C492E55A66A}" dt="2023-10-17T10:16:21.673" v="1053"/>
          <ac:picMkLst>
            <pc:docMk/>
            <pc:sldMk cId="3442810152" sldId="2147479152"/>
            <ac:picMk id="9" creationId="{3D0014A1-775C-F626-1ED4-05A00556E007}"/>
          </ac:picMkLst>
        </pc:picChg>
        <pc:picChg chg="add mod">
          <ac:chgData name="Koen Verbeeck" userId="24d0e79a7fd977da" providerId="LiveId" clId="{BA5CD2F8-66DA-43DE-8187-1C492E55A66A}" dt="2023-10-17T10:16:21.687" v="1054"/>
          <ac:picMkLst>
            <pc:docMk/>
            <pc:sldMk cId="3442810152" sldId="2147479152"/>
            <ac:picMk id="19" creationId="{8669F812-629F-17BA-9EE0-467F7FDEE6D6}"/>
          </ac:picMkLst>
        </pc:picChg>
        <pc:picChg chg="add mod">
          <ac:chgData name="Koen Verbeeck" userId="24d0e79a7fd977da" providerId="LiveId" clId="{BA5CD2F8-66DA-43DE-8187-1C492E55A66A}" dt="2023-10-17T10:16:21.687" v="1054"/>
          <ac:picMkLst>
            <pc:docMk/>
            <pc:sldMk cId="3442810152" sldId="2147479152"/>
            <ac:picMk id="21" creationId="{3C863841-031C-7F3A-14B5-E042328CBCFB}"/>
          </ac:picMkLst>
        </pc:picChg>
        <pc:picChg chg="add mod">
          <ac:chgData name="Koen Verbeeck" userId="24d0e79a7fd977da" providerId="LiveId" clId="{BA5CD2F8-66DA-43DE-8187-1C492E55A66A}" dt="2023-10-17T10:16:21.687" v="1054"/>
          <ac:picMkLst>
            <pc:docMk/>
            <pc:sldMk cId="3442810152" sldId="2147479152"/>
            <ac:picMk id="23" creationId="{B8BBD2FE-290C-7204-A04D-179F528BE9BA}"/>
          </ac:picMkLst>
        </pc:picChg>
        <pc:picChg chg="del">
          <ac:chgData name="Koen Verbeeck" userId="24d0e79a7fd977da" providerId="LiveId" clId="{BA5CD2F8-66DA-43DE-8187-1C492E55A66A}" dt="2023-10-17T10:16:11.304" v="1049" actId="478"/>
          <ac:picMkLst>
            <pc:docMk/>
            <pc:sldMk cId="3442810152" sldId="2147479152"/>
            <ac:picMk id="31" creationId="{82892BEA-CA07-3386-2DAB-5F9E3B3EFCDE}"/>
          </ac:picMkLst>
        </pc:picChg>
        <pc:picChg chg="del">
          <ac:chgData name="Koen Verbeeck" userId="24d0e79a7fd977da" providerId="LiveId" clId="{BA5CD2F8-66DA-43DE-8187-1C492E55A66A}" dt="2023-10-17T10:16:11.304" v="1049" actId="478"/>
          <ac:picMkLst>
            <pc:docMk/>
            <pc:sldMk cId="3442810152" sldId="2147479152"/>
            <ac:picMk id="32" creationId="{A17A0B2D-27E9-43B1-C5CF-4C67FAD34FC1}"/>
          </ac:picMkLst>
        </pc:picChg>
        <pc:picChg chg="del">
          <ac:chgData name="Koen Verbeeck" userId="24d0e79a7fd977da" providerId="LiveId" clId="{BA5CD2F8-66DA-43DE-8187-1C492E55A66A}" dt="2023-10-17T10:16:11.304" v="1049" actId="478"/>
          <ac:picMkLst>
            <pc:docMk/>
            <pc:sldMk cId="3442810152" sldId="2147479152"/>
            <ac:picMk id="36" creationId="{7E4BC76A-B83A-B809-5B73-45611656F8FA}"/>
          </ac:picMkLst>
        </pc:picChg>
        <pc:picChg chg="del">
          <ac:chgData name="Koen Verbeeck" userId="24d0e79a7fd977da" providerId="LiveId" clId="{BA5CD2F8-66DA-43DE-8187-1C492E55A66A}" dt="2023-10-17T10:16:11.304" v="1049" actId="478"/>
          <ac:picMkLst>
            <pc:docMk/>
            <pc:sldMk cId="3442810152" sldId="2147479152"/>
            <ac:picMk id="37" creationId="{6E41CA13-ED39-A1D0-479A-0DD6FA0EF7A7}"/>
          </ac:picMkLst>
        </pc:picChg>
        <pc:picChg chg="del">
          <ac:chgData name="Koen Verbeeck" userId="24d0e79a7fd977da" providerId="LiveId" clId="{BA5CD2F8-66DA-43DE-8187-1C492E55A66A}" dt="2023-10-17T10:16:11.304" v="1049" actId="478"/>
          <ac:picMkLst>
            <pc:docMk/>
            <pc:sldMk cId="3442810152" sldId="2147479152"/>
            <ac:picMk id="38" creationId="{0E3DDE9C-E3FC-53D9-3CFC-454F116C86E6}"/>
          </ac:picMkLst>
        </pc:picChg>
        <pc:picChg chg="del">
          <ac:chgData name="Koen Verbeeck" userId="24d0e79a7fd977da" providerId="LiveId" clId="{BA5CD2F8-66DA-43DE-8187-1C492E55A66A}" dt="2023-10-17T10:16:11.304" v="1049" actId="478"/>
          <ac:picMkLst>
            <pc:docMk/>
            <pc:sldMk cId="3442810152" sldId="2147479152"/>
            <ac:picMk id="40" creationId="{07C23B07-2F3B-EAF6-B689-7E52BA9D74D7}"/>
          </ac:picMkLst>
        </pc:picChg>
        <pc:picChg chg="del">
          <ac:chgData name="Koen Verbeeck" userId="24d0e79a7fd977da" providerId="LiveId" clId="{BA5CD2F8-66DA-43DE-8187-1C492E55A66A}" dt="2023-10-17T10:16:11.304" v="1049" actId="478"/>
          <ac:picMkLst>
            <pc:docMk/>
            <pc:sldMk cId="3442810152" sldId="2147479152"/>
            <ac:picMk id="41" creationId="{52ADAB45-979F-1E5B-16C9-14FD80028159}"/>
          </ac:picMkLst>
        </pc:picChg>
        <pc:picChg chg="del">
          <ac:chgData name="Koen Verbeeck" userId="24d0e79a7fd977da" providerId="LiveId" clId="{BA5CD2F8-66DA-43DE-8187-1C492E55A66A}" dt="2023-10-17T10:16:11.304" v="1049" actId="478"/>
          <ac:picMkLst>
            <pc:docMk/>
            <pc:sldMk cId="3442810152" sldId="2147479152"/>
            <ac:picMk id="42" creationId="{ED752402-C742-F288-799C-3569CDC09549}"/>
          </ac:picMkLst>
        </pc:picChg>
        <pc:picChg chg="del">
          <ac:chgData name="Koen Verbeeck" userId="24d0e79a7fd977da" providerId="LiveId" clId="{BA5CD2F8-66DA-43DE-8187-1C492E55A66A}" dt="2023-10-17T10:16:11.304" v="1049" actId="478"/>
          <ac:picMkLst>
            <pc:docMk/>
            <pc:sldMk cId="3442810152" sldId="2147479152"/>
            <ac:picMk id="43" creationId="{92C25BA5-1A82-F801-5FDE-9230B584E768}"/>
          </ac:picMkLst>
        </pc:picChg>
        <pc:picChg chg="del">
          <ac:chgData name="Koen Verbeeck" userId="24d0e79a7fd977da" providerId="LiveId" clId="{BA5CD2F8-66DA-43DE-8187-1C492E55A66A}" dt="2023-10-17T10:16:11.304" v="1049" actId="478"/>
          <ac:picMkLst>
            <pc:docMk/>
            <pc:sldMk cId="3442810152" sldId="2147479152"/>
            <ac:picMk id="45" creationId="{36219C0A-8659-5A69-08B3-34E2985DE75E}"/>
          </ac:picMkLst>
        </pc:picChg>
        <pc:picChg chg="del">
          <ac:chgData name="Koen Verbeeck" userId="24d0e79a7fd977da" providerId="LiveId" clId="{BA5CD2F8-66DA-43DE-8187-1C492E55A66A}" dt="2023-10-17T10:16:11.304" v="1049" actId="478"/>
          <ac:picMkLst>
            <pc:docMk/>
            <pc:sldMk cId="3442810152" sldId="2147479152"/>
            <ac:picMk id="46" creationId="{EF3993E6-CE4B-5714-2A19-F43AB66DEE0E}"/>
          </ac:picMkLst>
        </pc:picChg>
      </pc:sldChg>
      <pc:sldChg chg="addSp delSp modSp add mod ord">
        <pc:chgData name="Koen Verbeeck" userId="24d0e79a7fd977da" providerId="LiveId" clId="{BA5CD2F8-66DA-43DE-8187-1C492E55A66A}" dt="2023-10-17T10:23:08.981" v="1127"/>
        <pc:sldMkLst>
          <pc:docMk/>
          <pc:sldMk cId="1956618553" sldId="2147479153"/>
        </pc:sldMkLst>
        <pc:spChg chg="add del mod">
          <ac:chgData name="Koen Verbeeck" userId="24d0e79a7fd977da" providerId="LiveId" clId="{BA5CD2F8-66DA-43DE-8187-1C492E55A66A}" dt="2023-10-17T10:23:04.779" v="1124"/>
          <ac:spMkLst>
            <pc:docMk/>
            <pc:sldMk cId="1956618553" sldId="2147479153"/>
            <ac:spMk id="2" creationId="{B67F1568-4A74-B1D0-F3B9-2CE92494ADD1}"/>
          </ac:spMkLst>
        </pc:spChg>
        <pc:spChg chg="add del mod">
          <ac:chgData name="Koen Verbeeck" userId="24d0e79a7fd977da" providerId="LiveId" clId="{BA5CD2F8-66DA-43DE-8187-1C492E55A66A}" dt="2023-10-17T10:23:04.779" v="1124"/>
          <ac:spMkLst>
            <pc:docMk/>
            <pc:sldMk cId="1956618553" sldId="2147479153"/>
            <ac:spMk id="3" creationId="{85A95E57-AA43-EF91-1CEA-D301D6C42815}"/>
          </ac:spMkLst>
        </pc:spChg>
        <pc:spChg chg="del">
          <ac:chgData name="Koen Verbeeck" userId="24d0e79a7fd977da" providerId="LiveId" clId="{BA5CD2F8-66DA-43DE-8187-1C492E55A66A}" dt="2023-10-17T10:20:30.109" v="1067" actId="478"/>
          <ac:spMkLst>
            <pc:docMk/>
            <pc:sldMk cId="1956618553" sldId="2147479153"/>
            <ac:spMk id="5" creationId="{9AC5F157-A70B-58FA-C184-BE822D8E9617}"/>
          </ac:spMkLst>
        </pc:spChg>
        <pc:spChg chg="del">
          <ac:chgData name="Koen Verbeeck" userId="24d0e79a7fd977da" providerId="LiveId" clId="{BA5CD2F8-66DA-43DE-8187-1C492E55A66A}" dt="2023-10-17T10:20:30.109" v="1067" actId="478"/>
          <ac:spMkLst>
            <pc:docMk/>
            <pc:sldMk cId="1956618553" sldId="2147479153"/>
            <ac:spMk id="6" creationId="{17EE2E00-B772-2296-20D4-24AF35D55B80}"/>
          </ac:spMkLst>
        </pc:spChg>
        <pc:spChg chg="add mod">
          <ac:chgData name="Koen Verbeeck" userId="24d0e79a7fd977da" providerId="LiveId" clId="{BA5CD2F8-66DA-43DE-8187-1C492E55A66A}" dt="2023-10-17T10:23:08.981" v="1127"/>
          <ac:spMkLst>
            <pc:docMk/>
            <pc:sldMk cId="1956618553" sldId="2147479153"/>
            <ac:spMk id="8" creationId="{9267A3DC-7B65-2085-2332-F1363C9C049D}"/>
          </ac:spMkLst>
        </pc:spChg>
        <pc:spChg chg="add mod">
          <ac:chgData name="Koen Verbeeck" userId="24d0e79a7fd977da" providerId="LiveId" clId="{BA5CD2F8-66DA-43DE-8187-1C492E55A66A}" dt="2023-10-17T10:23:04.789" v="1125"/>
          <ac:spMkLst>
            <pc:docMk/>
            <pc:sldMk cId="1956618553" sldId="2147479153"/>
            <ac:spMk id="9" creationId="{02413A18-FA74-2E2D-2606-F4B466627A7F}"/>
          </ac:spMkLst>
        </pc:spChg>
        <pc:picChg chg="add del mod">
          <ac:chgData name="Koen Verbeeck" userId="24d0e79a7fd977da" providerId="LiveId" clId="{BA5CD2F8-66DA-43DE-8187-1C492E55A66A}" dt="2023-10-17T10:23:04.779" v="1124"/>
          <ac:picMkLst>
            <pc:docMk/>
            <pc:sldMk cId="1956618553" sldId="2147479153"/>
            <ac:picMk id="4" creationId="{54F30B41-A230-B6BB-C436-966D0B43B218}"/>
          </ac:picMkLst>
        </pc:picChg>
        <pc:picChg chg="del">
          <ac:chgData name="Koen Verbeeck" userId="24d0e79a7fd977da" providerId="LiveId" clId="{BA5CD2F8-66DA-43DE-8187-1C492E55A66A}" dt="2023-10-17T10:20:30.109" v="1067" actId="478"/>
          <ac:picMkLst>
            <pc:docMk/>
            <pc:sldMk cId="1956618553" sldId="2147479153"/>
            <ac:picMk id="7" creationId="{27C3E89C-AD57-6304-3122-141FC151EAA4}"/>
          </ac:picMkLst>
        </pc:picChg>
        <pc:picChg chg="add mod">
          <ac:chgData name="Koen Verbeeck" userId="24d0e79a7fd977da" providerId="LiveId" clId="{BA5CD2F8-66DA-43DE-8187-1C492E55A66A}" dt="2023-10-17T10:23:04.789" v="1125"/>
          <ac:picMkLst>
            <pc:docMk/>
            <pc:sldMk cId="1956618553" sldId="2147479153"/>
            <ac:picMk id="10" creationId="{62EC4CF6-CB0A-38BF-09E9-7BAA78F58714}"/>
          </ac:picMkLst>
        </pc:picChg>
      </pc:sldChg>
      <pc:sldChg chg="addSp delSp modSp add mod">
        <pc:chgData name="Koen Verbeeck" userId="24d0e79a7fd977da" providerId="LiveId" clId="{BA5CD2F8-66DA-43DE-8187-1C492E55A66A}" dt="2023-10-17T10:21:45.725" v="1122" actId="20577"/>
        <pc:sldMkLst>
          <pc:docMk/>
          <pc:sldMk cId="2479142523" sldId="2147479154"/>
        </pc:sldMkLst>
        <pc:spChg chg="add del mod">
          <ac:chgData name="Koen Verbeeck" userId="24d0e79a7fd977da" providerId="LiveId" clId="{BA5CD2F8-66DA-43DE-8187-1C492E55A66A}" dt="2023-10-17T10:21:17.782" v="1070"/>
          <ac:spMkLst>
            <pc:docMk/>
            <pc:sldMk cId="2479142523" sldId="2147479154"/>
            <ac:spMk id="2" creationId="{044B8AE9-8BF3-A440-238E-5C1611A8541D}"/>
          </ac:spMkLst>
        </pc:spChg>
        <pc:spChg chg="add del mod">
          <ac:chgData name="Koen Verbeeck" userId="24d0e79a7fd977da" providerId="LiveId" clId="{BA5CD2F8-66DA-43DE-8187-1C492E55A66A}" dt="2023-10-17T10:21:17.782" v="1070"/>
          <ac:spMkLst>
            <pc:docMk/>
            <pc:sldMk cId="2479142523" sldId="2147479154"/>
            <ac:spMk id="3" creationId="{84A7BB9C-47D5-D669-2BB4-89D7BD5AD88F}"/>
          </ac:spMkLst>
        </pc:spChg>
        <pc:spChg chg="add mod">
          <ac:chgData name="Koen Verbeeck" userId="24d0e79a7fd977da" providerId="LiveId" clId="{BA5CD2F8-66DA-43DE-8187-1C492E55A66A}" dt="2023-10-17T10:21:29.530" v="1075"/>
          <ac:spMkLst>
            <pc:docMk/>
            <pc:sldMk cId="2479142523" sldId="2147479154"/>
            <ac:spMk id="5" creationId="{1AA51CB1-2C23-E6DB-149C-1F3130A43AD0}"/>
          </ac:spMkLst>
        </pc:spChg>
        <pc:spChg chg="add mod">
          <ac:chgData name="Koen Verbeeck" userId="24d0e79a7fd977da" providerId="LiveId" clId="{BA5CD2F8-66DA-43DE-8187-1C492E55A66A}" dt="2023-10-17T10:21:45.725" v="1122" actId="20577"/>
          <ac:spMkLst>
            <pc:docMk/>
            <pc:sldMk cId="2479142523" sldId="2147479154"/>
            <ac:spMk id="6" creationId="{3841ED13-8D7A-D247-1E74-1474C6F7BFF5}"/>
          </ac:spMkLst>
        </pc:spChg>
        <pc:picChg chg="add del mod">
          <ac:chgData name="Koen Verbeeck" userId="24d0e79a7fd977da" providerId="LiveId" clId="{BA5CD2F8-66DA-43DE-8187-1C492E55A66A}" dt="2023-10-17T10:21:17.782" v="1070"/>
          <ac:picMkLst>
            <pc:docMk/>
            <pc:sldMk cId="2479142523" sldId="2147479154"/>
            <ac:picMk id="4" creationId="{127FC0D0-57A9-157D-3C5C-39639CFA15AC}"/>
          </ac:picMkLst>
        </pc:picChg>
        <pc:picChg chg="add mod">
          <ac:chgData name="Koen Verbeeck" userId="24d0e79a7fd977da" providerId="LiveId" clId="{BA5CD2F8-66DA-43DE-8187-1C492E55A66A}" dt="2023-10-17T10:21:17.792" v="1071"/>
          <ac:picMkLst>
            <pc:docMk/>
            <pc:sldMk cId="2479142523" sldId="2147479154"/>
            <ac:picMk id="7" creationId="{E5600770-6BCA-5470-BDAC-59130BAC735D}"/>
          </ac:picMkLst>
        </pc:picChg>
      </pc:sldChg>
      <pc:sldChg chg="addSp delSp modSp new mod">
        <pc:chgData name="Koen Verbeeck" userId="24d0e79a7fd977da" providerId="LiveId" clId="{BA5CD2F8-66DA-43DE-8187-1C492E55A66A}" dt="2023-10-17T10:23:39.590" v="1130" actId="478"/>
        <pc:sldMkLst>
          <pc:docMk/>
          <pc:sldMk cId="3041100848" sldId="2147479155"/>
        </pc:sldMkLst>
        <pc:spChg chg="del">
          <ac:chgData name="Koen Verbeeck" userId="24d0e79a7fd977da" providerId="LiveId" clId="{BA5CD2F8-66DA-43DE-8187-1C492E55A66A}" dt="2023-10-17T10:23:39.590" v="1130" actId="478"/>
          <ac:spMkLst>
            <pc:docMk/>
            <pc:sldMk cId="3041100848" sldId="2147479155"/>
            <ac:spMk id="2" creationId="{77736512-8157-CD1D-C4E6-06FEFFE10CC9}"/>
          </ac:spMkLst>
        </pc:spChg>
        <pc:picChg chg="add mod">
          <ac:chgData name="Koen Verbeeck" userId="24d0e79a7fd977da" providerId="LiveId" clId="{BA5CD2F8-66DA-43DE-8187-1C492E55A66A}" dt="2023-10-17T10:23:36.174" v="1129"/>
          <ac:picMkLst>
            <pc:docMk/>
            <pc:sldMk cId="3041100848" sldId="2147479155"/>
            <ac:picMk id="3" creationId="{7921C850-09C9-0A70-BBEB-AFA15C59D1A0}"/>
          </ac:picMkLst>
        </pc:picChg>
      </pc:sldChg>
      <pc:sldChg chg="addSp delSp modSp add mod">
        <pc:chgData name="Koen Verbeeck" userId="24d0e79a7fd977da" providerId="LiveId" clId="{BA5CD2F8-66DA-43DE-8187-1C492E55A66A}" dt="2023-10-17T10:24:53.006" v="1139" actId="14100"/>
        <pc:sldMkLst>
          <pc:docMk/>
          <pc:sldMk cId="2644149466" sldId="2147479156"/>
        </pc:sldMkLst>
        <pc:picChg chg="add mod">
          <ac:chgData name="Koen Verbeeck" userId="24d0e79a7fd977da" providerId="LiveId" clId="{BA5CD2F8-66DA-43DE-8187-1C492E55A66A}" dt="2023-10-17T10:24:53.006" v="1139" actId="14100"/>
          <ac:picMkLst>
            <pc:docMk/>
            <pc:sldMk cId="2644149466" sldId="2147479156"/>
            <ac:picMk id="2" creationId="{BA9076E9-AEC3-D4DC-71ED-6177E0E1A270}"/>
          </ac:picMkLst>
        </pc:picChg>
        <pc:picChg chg="del">
          <ac:chgData name="Koen Verbeeck" userId="24d0e79a7fd977da" providerId="LiveId" clId="{BA5CD2F8-66DA-43DE-8187-1C492E55A66A}" dt="2023-10-17T10:23:43.756" v="1132" actId="478"/>
          <ac:picMkLst>
            <pc:docMk/>
            <pc:sldMk cId="2644149466" sldId="2147479156"/>
            <ac:picMk id="3" creationId="{7921C850-09C9-0A70-BBEB-AFA15C59D1A0}"/>
          </ac:picMkLst>
        </pc:picChg>
        <pc:picChg chg="add mod">
          <ac:chgData name="Koen Verbeeck" userId="24d0e79a7fd977da" providerId="LiveId" clId="{BA5CD2F8-66DA-43DE-8187-1C492E55A66A}" dt="2023-10-17T10:24:50.223" v="1138" actId="14100"/>
          <ac:picMkLst>
            <pc:docMk/>
            <pc:sldMk cId="2644149466" sldId="2147479156"/>
            <ac:picMk id="4" creationId="{A5B48512-DE93-A00D-172F-672B388F7ACC}"/>
          </ac:picMkLst>
        </pc:picChg>
      </pc:sldChg>
      <pc:sldChg chg="addSp delSp modSp add mod">
        <pc:chgData name="Koen Verbeeck" userId="24d0e79a7fd977da" providerId="LiveId" clId="{BA5CD2F8-66DA-43DE-8187-1C492E55A66A}" dt="2023-10-17T10:25:17.509" v="1145" actId="1076"/>
        <pc:sldMkLst>
          <pc:docMk/>
          <pc:sldMk cId="2682381876" sldId="2147479157"/>
        </pc:sldMkLst>
        <pc:picChg chg="del">
          <ac:chgData name="Koen Verbeeck" userId="24d0e79a7fd977da" providerId="LiveId" clId="{BA5CD2F8-66DA-43DE-8187-1C492E55A66A}" dt="2023-10-17T10:25:11.564" v="1141" actId="478"/>
          <ac:picMkLst>
            <pc:docMk/>
            <pc:sldMk cId="2682381876" sldId="2147479157"/>
            <ac:picMk id="2" creationId="{BA9076E9-AEC3-D4DC-71ED-6177E0E1A270}"/>
          </ac:picMkLst>
        </pc:picChg>
        <pc:picChg chg="add mod">
          <ac:chgData name="Koen Verbeeck" userId="24d0e79a7fd977da" providerId="LiveId" clId="{BA5CD2F8-66DA-43DE-8187-1C492E55A66A}" dt="2023-10-17T10:25:17.509" v="1145" actId="1076"/>
          <ac:picMkLst>
            <pc:docMk/>
            <pc:sldMk cId="2682381876" sldId="2147479157"/>
            <ac:picMk id="3" creationId="{690E0165-AB02-9AAB-0953-5126171AB462}"/>
          </ac:picMkLst>
        </pc:picChg>
        <pc:picChg chg="del">
          <ac:chgData name="Koen Verbeeck" userId="24d0e79a7fd977da" providerId="LiveId" clId="{BA5CD2F8-66DA-43DE-8187-1C492E55A66A}" dt="2023-10-17T10:25:11.564" v="1141" actId="478"/>
          <ac:picMkLst>
            <pc:docMk/>
            <pc:sldMk cId="2682381876" sldId="2147479157"/>
            <ac:picMk id="4" creationId="{A5B48512-DE93-A00D-172F-672B388F7ACC}"/>
          </ac:picMkLst>
        </pc:picChg>
      </pc:sldChg>
      <pc:sldChg chg="add del ord">
        <pc:chgData name="Koen Verbeeck" userId="24d0e79a7fd977da" providerId="LiveId" clId="{BA5CD2F8-66DA-43DE-8187-1C492E55A66A}" dt="2023-10-17T10:38:59.711" v="1251" actId="47"/>
        <pc:sldMkLst>
          <pc:docMk/>
          <pc:sldMk cId="1834925991" sldId="2147479158"/>
        </pc:sldMkLst>
      </pc:sldChg>
      <pc:sldChg chg="modSp add modAnim">
        <pc:chgData name="Koen Verbeeck" userId="24d0e79a7fd977da" providerId="LiveId" clId="{BA5CD2F8-66DA-43DE-8187-1C492E55A66A}" dt="2023-10-17T10:26:46.745" v="1202" actId="20577"/>
        <pc:sldMkLst>
          <pc:docMk/>
          <pc:sldMk cId="983717636" sldId="2147479159"/>
        </pc:sldMkLst>
        <pc:spChg chg="mod">
          <ac:chgData name="Koen Verbeeck" userId="24d0e79a7fd977da" providerId="LiveId" clId="{BA5CD2F8-66DA-43DE-8187-1C492E55A66A}" dt="2023-10-17T10:26:46.745" v="1202" actId="20577"/>
          <ac:spMkLst>
            <pc:docMk/>
            <pc:sldMk cId="983717636" sldId="2147479159"/>
            <ac:spMk id="13" creationId="{0A925C7F-DC41-244E-985A-B5DACDDC487B}"/>
          </ac:spMkLst>
        </pc:spChg>
      </pc:sldChg>
      <pc:sldChg chg="modSp add mod">
        <pc:chgData name="Koen Verbeeck" userId="24d0e79a7fd977da" providerId="LiveId" clId="{BA5CD2F8-66DA-43DE-8187-1C492E55A66A}" dt="2023-10-17T10:37:27.597" v="1222" actId="6549"/>
        <pc:sldMkLst>
          <pc:docMk/>
          <pc:sldMk cId="3287086493" sldId="2147479160"/>
        </pc:sldMkLst>
        <pc:spChg chg="mod">
          <ac:chgData name="Koen Verbeeck" userId="24d0e79a7fd977da" providerId="LiveId" clId="{BA5CD2F8-66DA-43DE-8187-1C492E55A66A}" dt="2023-10-17T10:37:27.597" v="1222" actId="6549"/>
          <ac:spMkLst>
            <pc:docMk/>
            <pc:sldMk cId="3287086493" sldId="2147479160"/>
            <ac:spMk id="13" creationId="{0A925C7F-DC41-244E-985A-B5DACDDC487B}"/>
          </ac:spMkLst>
        </pc:spChg>
      </pc:sldChg>
      <pc:sldChg chg="addSp delSp modSp new mod">
        <pc:chgData name="Koen Verbeeck" userId="24d0e79a7fd977da" providerId="LiveId" clId="{BA5CD2F8-66DA-43DE-8187-1C492E55A66A}" dt="2023-10-17T10:37:56.598" v="1243" actId="1038"/>
        <pc:sldMkLst>
          <pc:docMk/>
          <pc:sldMk cId="451764680" sldId="2147479161"/>
        </pc:sldMkLst>
        <pc:spChg chg="del">
          <ac:chgData name="Koen Verbeeck" userId="24d0e79a7fd977da" providerId="LiveId" clId="{BA5CD2F8-66DA-43DE-8187-1C492E55A66A}" dt="2023-10-17T10:37:46.046" v="1224" actId="478"/>
          <ac:spMkLst>
            <pc:docMk/>
            <pc:sldMk cId="451764680" sldId="2147479161"/>
            <ac:spMk id="2" creationId="{7FB6E076-BC63-911A-9AD8-DB3F14EE5FD7}"/>
          </ac:spMkLst>
        </pc:spChg>
        <pc:spChg chg="del">
          <ac:chgData name="Koen Verbeeck" userId="24d0e79a7fd977da" providerId="LiveId" clId="{BA5CD2F8-66DA-43DE-8187-1C492E55A66A}" dt="2023-10-17T10:37:46.046" v="1224" actId="478"/>
          <ac:spMkLst>
            <pc:docMk/>
            <pc:sldMk cId="451764680" sldId="2147479161"/>
            <ac:spMk id="3" creationId="{4E5775C7-6184-EEE9-6E2A-BEF321546CF8}"/>
          </ac:spMkLst>
        </pc:spChg>
        <pc:spChg chg="add del mod">
          <ac:chgData name="Koen Verbeeck" userId="24d0e79a7fd977da" providerId="LiveId" clId="{BA5CD2F8-66DA-43DE-8187-1C492E55A66A}" dt="2023-10-17T10:37:49.289" v="1228"/>
          <ac:spMkLst>
            <pc:docMk/>
            <pc:sldMk cId="451764680" sldId="2147479161"/>
            <ac:spMk id="4" creationId="{231B40DB-C7B5-3F28-4630-EE697E8BCA38}"/>
          </ac:spMkLst>
        </pc:spChg>
        <pc:spChg chg="mod">
          <ac:chgData name="Koen Verbeeck" userId="24d0e79a7fd977da" providerId="LiveId" clId="{BA5CD2F8-66DA-43DE-8187-1C492E55A66A}" dt="2023-10-17T10:37:46.513" v="1225"/>
          <ac:spMkLst>
            <pc:docMk/>
            <pc:sldMk cId="451764680" sldId="2147479161"/>
            <ac:spMk id="6" creationId="{D61F8857-2DDC-F96D-5385-E61AE0269BCD}"/>
          </ac:spMkLst>
        </pc:spChg>
        <pc:spChg chg="mod">
          <ac:chgData name="Koen Verbeeck" userId="24d0e79a7fd977da" providerId="LiveId" clId="{BA5CD2F8-66DA-43DE-8187-1C492E55A66A}" dt="2023-10-17T10:37:46.513" v="1225"/>
          <ac:spMkLst>
            <pc:docMk/>
            <pc:sldMk cId="451764680" sldId="2147479161"/>
            <ac:spMk id="7" creationId="{9883246A-BF12-AF74-15F2-C0BD45179F38}"/>
          </ac:spMkLst>
        </pc:spChg>
        <pc:spChg chg="mod">
          <ac:chgData name="Koen Verbeeck" userId="24d0e79a7fd977da" providerId="LiveId" clId="{BA5CD2F8-66DA-43DE-8187-1C492E55A66A}" dt="2023-10-17T10:37:46.513" v="1225"/>
          <ac:spMkLst>
            <pc:docMk/>
            <pc:sldMk cId="451764680" sldId="2147479161"/>
            <ac:spMk id="10" creationId="{41E8A628-9D09-461C-4391-91A28966401B}"/>
          </ac:spMkLst>
        </pc:spChg>
        <pc:spChg chg="mod">
          <ac:chgData name="Koen Verbeeck" userId="24d0e79a7fd977da" providerId="LiveId" clId="{BA5CD2F8-66DA-43DE-8187-1C492E55A66A}" dt="2023-10-17T10:37:46.513" v="1225"/>
          <ac:spMkLst>
            <pc:docMk/>
            <pc:sldMk cId="451764680" sldId="2147479161"/>
            <ac:spMk id="12" creationId="{E4DE9B8C-AC7C-8042-C6A5-973A55060404}"/>
          </ac:spMkLst>
        </pc:spChg>
        <pc:spChg chg="mod">
          <ac:chgData name="Koen Verbeeck" userId="24d0e79a7fd977da" providerId="LiveId" clId="{BA5CD2F8-66DA-43DE-8187-1C492E55A66A}" dt="2023-10-17T10:37:46.513" v="1225"/>
          <ac:spMkLst>
            <pc:docMk/>
            <pc:sldMk cId="451764680" sldId="2147479161"/>
            <ac:spMk id="13" creationId="{29C0F319-8C35-091A-CAF3-B071A0D428F2}"/>
          </ac:spMkLst>
        </pc:spChg>
        <pc:spChg chg="mod">
          <ac:chgData name="Koen Verbeeck" userId="24d0e79a7fd977da" providerId="LiveId" clId="{BA5CD2F8-66DA-43DE-8187-1C492E55A66A}" dt="2023-10-17T10:37:46.513" v="1225"/>
          <ac:spMkLst>
            <pc:docMk/>
            <pc:sldMk cId="451764680" sldId="2147479161"/>
            <ac:spMk id="14" creationId="{C840A4DE-228B-2863-0F6B-3DE4F57B2019}"/>
          </ac:spMkLst>
        </pc:spChg>
        <pc:spChg chg="mod">
          <ac:chgData name="Koen Verbeeck" userId="24d0e79a7fd977da" providerId="LiveId" clId="{BA5CD2F8-66DA-43DE-8187-1C492E55A66A}" dt="2023-10-17T10:37:46.513" v="1225"/>
          <ac:spMkLst>
            <pc:docMk/>
            <pc:sldMk cId="451764680" sldId="2147479161"/>
            <ac:spMk id="15" creationId="{B552913C-3086-A219-FAA9-88EF835D3F2B}"/>
          </ac:spMkLst>
        </pc:spChg>
        <pc:spChg chg="mod">
          <ac:chgData name="Koen Verbeeck" userId="24d0e79a7fd977da" providerId="LiveId" clId="{BA5CD2F8-66DA-43DE-8187-1C492E55A66A}" dt="2023-10-17T10:37:46.513" v="1225"/>
          <ac:spMkLst>
            <pc:docMk/>
            <pc:sldMk cId="451764680" sldId="2147479161"/>
            <ac:spMk id="17" creationId="{1BE1A729-7995-0316-3FEC-406F17BD34ED}"/>
          </ac:spMkLst>
        </pc:spChg>
        <pc:spChg chg="mod">
          <ac:chgData name="Koen Verbeeck" userId="24d0e79a7fd977da" providerId="LiveId" clId="{BA5CD2F8-66DA-43DE-8187-1C492E55A66A}" dt="2023-10-17T10:37:46.513" v="1225"/>
          <ac:spMkLst>
            <pc:docMk/>
            <pc:sldMk cId="451764680" sldId="2147479161"/>
            <ac:spMk id="18" creationId="{8C6617A4-EC3D-F791-DE82-269EE5AC8C5C}"/>
          </ac:spMkLst>
        </pc:spChg>
        <pc:spChg chg="mod">
          <ac:chgData name="Koen Verbeeck" userId="24d0e79a7fd977da" providerId="LiveId" clId="{BA5CD2F8-66DA-43DE-8187-1C492E55A66A}" dt="2023-10-17T10:37:46.513" v="1225"/>
          <ac:spMkLst>
            <pc:docMk/>
            <pc:sldMk cId="451764680" sldId="2147479161"/>
            <ac:spMk id="19" creationId="{2BED2B15-FE7D-CC37-100B-424A358C3E3A}"/>
          </ac:spMkLst>
        </pc:spChg>
        <pc:spChg chg="mod">
          <ac:chgData name="Koen Verbeeck" userId="24d0e79a7fd977da" providerId="LiveId" clId="{BA5CD2F8-66DA-43DE-8187-1C492E55A66A}" dt="2023-10-17T10:37:46.513" v="1225"/>
          <ac:spMkLst>
            <pc:docMk/>
            <pc:sldMk cId="451764680" sldId="2147479161"/>
            <ac:spMk id="21" creationId="{DE603732-9EC9-CB96-FC5A-3BE72A3E60C4}"/>
          </ac:spMkLst>
        </pc:spChg>
        <pc:spChg chg="mod">
          <ac:chgData name="Koen Verbeeck" userId="24d0e79a7fd977da" providerId="LiveId" clId="{BA5CD2F8-66DA-43DE-8187-1C492E55A66A}" dt="2023-10-17T10:37:46.513" v="1225"/>
          <ac:spMkLst>
            <pc:docMk/>
            <pc:sldMk cId="451764680" sldId="2147479161"/>
            <ac:spMk id="22" creationId="{19CEFC12-BAD7-EEEB-57E0-052621456C02}"/>
          </ac:spMkLst>
        </pc:spChg>
        <pc:spChg chg="mod">
          <ac:chgData name="Koen Verbeeck" userId="24d0e79a7fd977da" providerId="LiveId" clId="{BA5CD2F8-66DA-43DE-8187-1C492E55A66A}" dt="2023-10-17T10:37:46.513" v="1225"/>
          <ac:spMkLst>
            <pc:docMk/>
            <pc:sldMk cId="451764680" sldId="2147479161"/>
            <ac:spMk id="23" creationId="{5D096E49-20CD-0706-03D8-3F8ED2CDD744}"/>
          </ac:spMkLst>
        </pc:spChg>
        <pc:spChg chg="mod">
          <ac:chgData name="Koen Verbeeck" userId="24d0e79a7fd977da" providerId="LiveId" clId="{BA5CD2F8-66DA-43DE-8187-1C492E55A66A}" dt="2023-10-17T10:37:46.513" v="1225"/>
          <ac:spMkLst>
            <pc:docMk/>
            <pc:sldMk cId="451764680" sldId="2147479161"/>
            <ac:spMk id="24" creationId="{E4CB1852-1F9D-3126-6A07-85E5987530A9}"/>
          </ac:spMkLst>
        </pc:spChg>
        <pc:spChg chg="mod">
          <ac:chgData name="Koen Verbeeck" userId="24d0e79a7fd977da" providerId="LiveId" clId="{BA5CD2F8-66DA-43DE-8187-1C492E55A66A}" dt="2023-10-17T10:37:46.513" v="1225"/>
          <ac:spMkLst>
            <pc:docMk/>
            <pc:sldMk cId="451764680" sldId="2147479161"/>
            <ac:spMk id="25" creationId="{4AC082B4-69A5-D18E-EF84-2E7253C33A54}"/>
          </ac:spMkLst>
        </pc:spChg>
        <pc:spChg chg="mod">
          <ac:chgData name="Koen Verbeeck" userId="24d0e79a7fd977da" providerId="LiveId" clId="{BA5CD2F8-66DA-43DE-8187-1C492E55A66A}" dt="2023-10-17T10:37:46.513" v="1225"/>
          <ac:spMkLst>
            <pc:docMk/>
            <pc:sldMk cId="451764680" sldId="2147479161"/>
            <ac:spMk id="26" creationId="{664117B8-F1CC-7A8C-71A6-64E60C3C9F83}"/>
          </ac:spMkLst>
        </pc:spChg>
        <pc:spChg chg="add del mod">
          <ac:chgData name="Koen Verbeeck" userId="24d0e79a7fd977da" providerId="LiveId" clId="{BA5CD2F8-66DA-43DE-8187-1C492E55A66A}" dt="2023-10-17T10:37:49.289" v="1228"/>
          <ac:spMkLst>
            <pc:docMk/>
            <pc:sldMk cId="451764680" sldId="2147479161"/>
            <ac:spMk id="27" creationId="{693FC249-76AE-DED3-B82A-44D98B03611F}"/>
          </ac:spMkLst>
        </pc:spChg>
        <pc:spChg chg="add del mod">
          <ac:chgData name="Koen Verbeeck" userId="24d0e79a7fd977da" providerId="LiveId" clId="{BA5CD2F8-66DA-43DE-8187-1C492E55A66A}" dt="2023-10-17T10:37:49.289" v="1228"/>
          <ac:spMkLst>
            <pc:docMk/>
            <pc:sldMk cId="451764680" sldId="2147479161"/>
            <ac:spMk id="28" creationId="{B6FDE95B-41DE-45FA-7221-39BE5A50899E}"/>
          </ac:spMkLst>
        </pc:spChg>
        <pc:spChg chg="add del mod">
          <ac:chgData name="Koen Verbeeck" userId="24d0e79a7fd977da" providerId="LiveId" clId="{BA5CD2F8-66DA-43DE-8187-1C492E55A66A}" dt="2023-10-17T10:37:49.289" v="1228"/>
          <ac:spMkLst>
            <pc:docMk/>
            <pc:sldMk cId="451764680" sldId="2147479161"/>
            <ac:spMk id="29" creationId="{39AF11AE-8D49-1160-BE90-9F6F9FDBB7BA}"/>
          </ac:spMkLst>
        </pc:spChg>
        <pc:spChg chg="mod">
          <ac:chgData name="Koen Verbeeck" userId="24d0e79a7fd977da" providerId="LiveId" clId="{BA5CD2F8-66DA-43DE-8187-1C492E55A66A}" dt="2023-10-17T10:37:46.513" v="1225"/>
          <ac:spMkLst>
            <pc:docMk/>
            <pc:sldMk cId="451764680" sldId="2147479161"/>
            <ac:spMk id="31" creationId="{203EC62F-84EB-B2C9-4D6C-497EED7E4BC1}"/>
          </ac:spMkLst>
        </pc:spChg>
        <pc:spChg chg="mod">
          <ac:chgData name="Koen Verbeeck" userId="24d0e79a7fd977da" providerId="LiveId" clId="{BA5CD2F8-66DA-43DE-8187-1C492E55A66A}" dt="2023-10-17T10:37:46.513" v="1225"/>
          <ac:spMkLst>
            <pc:docMk/>
            <pc:sldMk cId="451764680" sldId="2147479161"/>
            <ac:spMk id="32" creationId="{0CAF9222-32CC-8257-0863-0C0B7A74DA02}"/>
          </ac:spMkLst>
        </pc:spChg>
        <pc:spChg chg="mod">
          <ac:chgData name="Koen Verbeeck" userId="24d0e79a7fd977da" providerId="LiveId" clId="{BA5CD2F8-66DA-43DE-8187-1C492E55A66A}" dt="2023-10-17T10:37:46.513" v="1225"/>
          <ac:spMkLst>
            <pc:docMk/>
            <pc:sldMk cId="451764680" sldId="2147479161"/>
            <ac:spMk id="34" creationId="{D13AF85B-5857-DD1A-F474-7A362B3FFB5E}"/>
          </ac:spMkLst>
        </pc:spChg>
        <pc:spChg chg="mod">
          <ac:chgData name="Koen Verbeeck" userId="24d0e79a7fd977da" providerId="LiveId" clId="{BA5CD2F8-66DA-43DE-8187-1C492E55A66A}" dt="2023-10-17T10:37:46.513" v="1225"/>
          <ac:spMkLst>
            <pc:docMk/>
            <pc:sldMk cId="451764680" sldId="2147479161"/>
            <ac:spMk id="36" creationId="{A8BE3F8B-FF71-3638-2F96-1D7472A49E34}"/>
          </ac:spMkLst>
        </pc:spChg>
        <pc:spChg chg="mod">
          <ac:chgData name="Koen Verbeeck" userId="24d0e79a7fd977da" providerId="LiveId" clId="{BA5CD2F8-66DA-43DE-8187-1C492E55A66A}" dt="2023-10-17T10:37:46.513" v="1225"/>
          <ac:spMkLst>
            <pc:docMk/>
            <pc:sldMk cId="451764680" sldId="2147479161"/>
            <ac:spMk id="37" creationId="{B25D799B-F714-BBCB-58FD-A014E062AEA1}"/>
          </ac:spMkLst>
        </pc:spChg>
        <pc:spChg chg="mod">
          <ac:chgData name="Koen Verbeeck" userId="24d0e79a7fd977da" providerId="LiveId" clId="{BA5CD2F8-66DA-43DE-8187-1C492E55A66A}" dt="2023-10-17T10:37:46.513" v="1225"/>
          <ac:spMkLst>
            <pc:docMk/>
            <pc:sldMk cId="451764680" sldId="2147479161"/>
            <ac:spMk id="38" creationId="{0BF3910A-3F4C-8FA9-C2A6-B1CE9BAC9807}"/>
          </ac:spMkLst>
        </pc:spChg>
        <pc:spChg chg="mod">
          <ac:chgData name="Koen Verbeeck" userId="24d0e79a7fd977da" providerId="LiveId" clId="{BA5CD2F8-66DA-43DE-8187-1C492E55A66A}" dt="2023-10-17T10:37:46.513" v="1225"/>
          <ac:spMkLst>
            <pc:docMk/>
            <pc:sldMk cId="451764680" sldId="2147479161"/>
            <ac:spMk id="39" creationId="{679C5A70-D147-D34B-A758-975CE2C93FCF}"/>
          </ac:spMkLst>
        </pc:spChg>
        <pc:spChg chg="mod">
          <ac:chgData name="Koen Verbeeck" userId="24d0e79a7fd977da" providerId="LiveId" clId="{BA5CD2F8-66DA-43DE-8187-1C492E55A66A}" dt="2023-10-17T10:37:46.513" v="1225"/>
          <ac:spMkLst>
            <pc:docMk/>
            <pc:sldMk cId="451764680" sldId="2147479161"/>
            <ac:spMk id="41" creationId="{647C93D7-D4A8-CDD6-6BDE-1DB517AC4D5B}"/>
          </ac:spMkLst>
        </pc:spChg>
        <pc:spChg chg="mod">
          <ac:chgData name="Koen Verbeeck" userId="24d0e79a7fd977da" providerId="LiveId" clId="{BA5CD2F8-66DA-43DE-8187-1C492E55A66A}" dt="2023-10-17T10:37:46.513" v="1225"/>
          <ac:spMkLst>
            <pc:docMk/>
            <pc:sldMk cId="451764680" sldId="2147479161"/>
            <ac:spMk id="43" creationId="{FC7F3662-2184-BAEB-D1C1-1424F4935F71}"/>
          </ac:spMkLst>
        </pc:spChg>
        <pc:spChg chg="mod">
          <ac:chgData name="Koen Verbeeck" userId="24d0e79a7fd977da" providerId="LiveId" clId="{BA5CD2F8-66DA-43DE-8187-1C492E55A66A}" dt="2023-10-17T10:37:46.513" v="1225"/>
          <ac:spMkLst>
            <pc:docMk/>
            <pc:sldMk cId="451764680" sldId="2147479161"/>
            <ac:spMk id="44" creationId="{52F09465-8A6D-C998-74BE-315ED22886AA}"/>
          </ac:spMkLst>
        </pc:spChg>
        <pc:spChg chg="mod">
          <ac:chgData name="Koen Verbeeck" userId="24d0e79a7fd977da" providerId="LiveId" clId="{BA5CD2F8-66DA-43DE-8187-1C492E55A66A}" dt="2023-10-17T10:37:46.513" v="1225"/>
          <ac:spMkLst>
            <pc:docMk/>
            <pc:sldMk cId="451764680" sldId="2147479161"/>
            <ac:spMk id="45" creationId="{C057EC09-37D7-2186-84AB-15AEAD3FD0C2}"/>
          </ac:spMkLst>
        </pc:spChg>
        <pc:spChg chg="mod">
          <ac:chgData name="Koen Verbeeck" userId="24d0e79a7fd977da" providerId="LiveId" clId="{BA5CD2F8-66DA-43DE-8187-1C492E55A66A}" dt="2023-10-17T10:37:46.513" v="1225"/>
          <ac:spMkLst>
            <pc:docMk/>
            <pc:sldMk cId="451764680" sldId="2147479161"/>
            <ac:spMk id="46" creationId="{2FC7322E-A916-3CAD-FBD3-D2F83A3122F4}"/>
          </ac:spMkLst>
        </pc:spChg>
        <pc:spChg chg="mod">
          <ac:chgData name="Koen Verbeeck" userId="24d0e79a7fd977da" providerId="LiveId" clId="{BA5CD2F8-66DA-43DE-8187-1C492E55A66A}" dt="2023-10-17T10:37:46.513" v="1225"/>
          <ac:spMkLst>
            <pc:docMk/>
            <pc:sldMk cId="451764680" sldId="2147479161"/>
            <ac:spMk id="47" creationId="{F30B2779-6488-E26E-741F-1FC6AFD20983}"/>
          </ac:spMkLst>
        </pc:spChg>
        <pc:spChg chg="mod">
          <ac:chgData name="Koen Verbeeck" userId="24d0e79a7fd977da" providerId="LiveId" clId="{BA5CD2F8-66DA-43DE-8187-1C492E55A66A}" dt="2023-10-17T10:37:46.513" v="1225"/>
          <ac:spMkLst>
            <pc:docMk/>
            <pc:sldMk cId="451764680" sldId="2147479161"/>
            <ac:spMk id="48" creationId="{0E0BAF07-9470-31E9-1C1F-8D829E98A6F6}"/>
          </ac:spMkLst>
        </pc:spChg>
        <pc:spChg chg="mod">
          <ac:chgData name="Koen Verbeeck" userId="24d0e79a7fd977da" providerId="LiveId" clId="{BA5CD2F8-66DA-43DE-8187-1C492E55A66A}" dt="2023-10-17T10:37:46.513" v="1225"/>
          <ac:spMkLst>
            <pc:docMk/>
            <pc:sldMk cId="451764680" sldId="2147479161"/>
            <ac:spMk id="49" creationId="{78EA2933-4CF7-2403-8DF7-8FA5872CA6EF}"/>
          </ac:spMkLst>
        </pc:spChg>
        <pc:spChg chg="mod">
          <ac:chgData name="Koen Verbeeck" userId="24d0e79a7fd977da" providerId="LiveId" clId="{BA5CD2F8-66DA-43DE-8187-1C492E55A66A}" dt="2023-10-17T10:37:46.513" v="1225"/>
          <ac:spMkLst>
            <pc:docMk/>
            <pc:sldMk cId="451764680" sldId="2147479161"/>
            <ac:spMk id="50" creationId="{B7F5BC16-E861-CCB7-C435-98FEA7BA86D0}"/>
          </ac:spMkLst>
        </pc:spChg>
        <pc:spChg chg="mod">
          <ac:chgData name="Koen Verbeeck" userId="24d0e79a7fd977da" providerId="LiveId" clId="{BA5CD2F8-66DA-43DE-8187-1C492E55A66A}" dt="2023-10-17T10:37:46.513" v="1225"/>
          <ac:spMkLst>
            <pc:docMk/>
            <pc:sldMk cId="451764680" sldId="2147479161"/>
            <ac:spMk id="52" creationId="{406D2BAB-53F9-31DE-29F5-316D7911CF49}"/>
          </ac:spMkLst>
        </pc:spChg>
        <pc:spChg chg="mod">
          <ac:chgData name="Koen Verbeeck" userId="24d0e79a7fd977da" providerId="LiveId" clId="{BA5CD2F8-66DA-43DE-8187-1C492E55A66A}" dt="2023-10-17T10:37:46.513" v="1225"/>
          <ac:spMkLst>
            <pc:docMk/>
            <pc:sldMk cId="451764680" sldId="2147479161"/>
            <ac:spMk id="53" creationId="{F25D5DE2-5235-C54E-A98C-1595525BF972}"/>
          </ac:spMkLst>
        </pc:spChg>
        <pc:spChg chg="mod">
          <ac:chgData name="Koen Verbeeck" userId="24d0e79a7fd977da" providerId="LiveId" clId="{BA5CD2F8-66DA-43DE-8187-1C492E55A66A}" dt="2023-10-17T10:37:46.513" v="1225"/>
          <ac:spMkLst>
            <pc:docMk/>
            <pc:sldMk cId="451764680" sldId="2147479161"/>
            <ac:spMk id="54" creationId="{9EB0D9C6-78ED-A214-689C-AAA217BA1449}"/>
          </ac:spMkLst>
        </pc:spChg>
        <pc:spChg chg="add mod">
          <ac:chgData name="Koen Verbeeck" userId="24d0e79a7fd977da" providerId="LiveId" clId="{BA5CD2F8-66DA-43DE-8187-1C492E55A66A}" dt="2023-10-17T10:37:56.598" v="1243" actId="1038"/>
          <ac:spMkLst>
            <pc:docMk/>
            <pc:sldMk cId="451764680" sldId="2147479161"/>
            <ac:spMk id="55" creationId="{FD4ED85C-F7E8-0C0F-B103-CFB2AD28F7E1}"/>
          </ac:spMkLst>
        </pc:spChg>
        <pc:spChg chg="mod">
          <ac:chgData name="Koen Verbeeck" userId="24d0e79a7fd977da" providerId="LiveId" clId="{BA5CD2F8-66DA-43DE-8187-1C492E55A66A}" dt="2023-10-17T10:37:49.308" v="1229"/>
          <ac:spMkLst>
            <pc:docMk/>
            <pc:sldMk cId="451764680" sldId="2147479161"/>
            <ac:spMk id="57" creationId="{6E32B381-B0FE-523F-FD8D-AB4EC59FC6A8}"/>
          </ac:spMkLst>
        </pc:spChg>
        <pc:spChg chg="mod">
          <ac:chgData name="Koen Verbeeck" userId="24d0e79a7fd977da" providerId="LiveId" clId="{BA5CD2F8-66DA-43DE-8187-1C492E55A66A}" dt="2023-10-17T10:37:49.308" v="1229"/>
          <ac:spMkLst>
            <pc:docMk/>
            <pc:sldMk cId="451764680" sldId="2147479161"/>
            <ac:spMk id="58" creationId="{CCAA8648-89E7-D31E-16C4-E5E590D1746D}"/>
          </ac:spMkLst>
        </pc:spChg>
        <pc:spChg chg="mod">
          <ac:chgData name="Koen Verbeeck" userId="24d0e79a7fd977da" providerId="LiveId" clId="{BA5CD2F8-66DA-43DE-8187-1C492E55A66A}" dt="2023-10-17T10:37:49.308" v="1229"/>
          <ac:spMkLst>
            <pc:docMk/>
            <pc:sldMk cId="451764680" sldId="2147479161"/>
            <ac:spMk id="61" creationId="{70AE870C-F633-3147-29A9-E7ECB339937F}"/>
          </ac:spMkLst>
        </pc:spChg>
        <pc:spChg chg="mod">
          <ac:chgData name="Koen Verbeeck" userId="24d0e79a7fd977da" providerId="LiveId" clId="{BA5CD2F8-66DA-43DE-8187-1C492E55A66A}" dt="2023-10-17T10:37:49.308" v="1229"/>
          <ac:spMkLst>
            <pc:docMk/>
            <pc:sldMk cId="451764680" sldId="2147479161"/>
            <ac:spMk id="63" creationId="{6A2A78CD-8B72-6626-5538-47E5F185BF52}"/>
          </ac:spMkLst>
        </pc:spChg>
        <pc:spChg chg="mod">
          <ac:chgData name="Koen Verbeeck" userId="24d0e79a7fd977da" providerId="LiveId" clId="{BA5CD2F8-66DA-43DE-8187-1C492E55A66A}" dt="2023-10-17T10:37:49.308" v="1229"/>
          <ac:spMkLst>
            <pc:docMk/>
            <pc:sldMk cId="451764680" sldId="2147479161"/>
            <ac:spMk id="64" creationId="{4B48D0B0-5437-FC34-A100-2812ADD571E3}"/>
          </ac:spMkLst>
        </pc:spChg>
        <pc:spChg chg="mod">
          <ac:chgData name="Koen Verbeeck" userId="24d0e79a7fd977da" providerId="LiveId" clId="{BA5CD2F8-66DA-43DE-8187-1C492E55A66A}" dt="2023-10-17T10:37:49.308" v="1229"/>
          <ac:spMkLst>
            <pc:docMk/>
            <pc:sldMk cId="451764680" sldId="2147479161"/>
            <ac:spMk id="65" creationId="{F876FEE9-AEBB-745C-1DE3-FFF595A95674}"/>
          </ac:spMkLst>
        </pc:spChg>
        <pc:spChg chg="mod">
          <ac:chgData name="Koen Verbeeck" userId="24d0e79a7fd977da" providerId="LiveId" clId="{BA5CD2F8-66DA-43DE-8187-1C492E55A66A}" dt="2023-10-17T10:37:49.308" v="1229"/>
          <ac:spMkLst>
            <pc:docMk/>
            <pc:sldMk cId="451764680" sldId="2147479161"/>
            <ac:spMk id="66" creationId="{986507E7-5BF9-804F-D059-7953CB9D9727}"/>
          </ac:spMkLst>
        </pc:spChg>
        <pc:spChg chg="mod">
          <ac:chgData name="Koen Verbeeck" userId="24d0e79a7fd977da" providerId="LiveId" clId="{BA5CD2F8-66DA-43DE-8187-1C492E55A66A}" dt="2023-10-17T10:37:49.308" v="1229"/>
          <ac:spMkLst>
            <pc:docMk/>
            <pc:sldMk cId="451764680" sldId="2147479161"/>
            <ac:spMk id="68" creationId="{6854D573-AEDD-E3A4-7A42-8ED0B96C0F11}"/>
          </ac:spMkLst>
        </pc:spChg>
        <pc:spChg chg="mod">
          <ac:chgData name="Koen Verbeeck" userId="24d0e79a7fd977da" providerId="LiveId" clId="{BA5CD2F8-66DA-43DE-8187-1C492E55A66A}" dt="2023-10-17T10:37:49.308" v="1229"/>
          <ac:spMkLst>
            <pc:docMk/>
            <pc:sldMk cId="451764680" sldId="2147479161"/>
            <ac:spMk id="69" creationId="{3CB611E9-DF1F-CDA1-DEC7-F397B050B26E}"/>
          </ac:spMkLst>
        </pc:spChg>
        <pc:spChg chg="mod">
          <ac:chgData name="Koen Verbeeck" userId="24d0e79a7fd977da" providerId="LiveId" clId="{BA5CD2F8-66DA-43DE-8187-1C492E55A66A}" dt="2023-10-17T10:37:49.308" v="1229"/>
          <ac:spMkLst>
            <pc:docMk/>
            <pc:sldMk cId="451764680" sldId="2147479161"/>
            <ac:spMk id="70" creationId="{BC6D3285-82A4-BA60-258E-3E54FB14C197}"/>
          </ac:spMkLst>
        </pc:spChg>
        <pc:spChg chg="mod">
          <ac:chgData name="Koen Verbeeck" userId="24d0e79a7fd977da" providerId="LiveId" clId="{BA5CD2F8-66DA-43DE-8187-1C492E55A66A}" dt="2023-10-17T10:37:49.308" v="1229"/>
          <ac:spMkLst>
            <pc:docMk/>
            <pc:sldMk cId="451764680" sldId="2147479161"/>
            <ac:spMk id="72" creationId="{30120C9E-C261-8176-658E-FEB6C4D70CD3}"/>
          </ac:spMkLst>
        </pc:spChg>
        <pc:spChg chg="mod">
          <ac:chgData name="Koen Verbeeck" userId="24d0e79a7fd977da" providerId="LiveId" clId="{BA5CD2F8-66DA-43DE-8187-1C492E55A66A}" dt="2023-10-17T10:37:49.308" v="1229"/>
          <ac:spMkLst>
            <pc:docMk/>
            <pc:sldMk cId="451764680" sldId="2147479161"/>
            <ac:spMk id="73" creationId="{C540DCB3-8C68-FBF4-D037-824E162F818F}"/>
          </ac:spMkLst>
        </pc:spChg>
        <pc:spChg chg="mod">
          <ac:chgData name="Koen Verbeeck" userId="24d0e79a7fd977da" providerId="LiveId" clId="{BA5CD2F8-66DA-43DE-8187-1C492E55A66A}" dt="2023-10-17T10:37:49.308" v="1229"/>
          <ac:spMkLst>
            <pc:docMk/>
            <pc:sldMk cId="451764680" sldId="2147479161"/>
            <ac:spMk id="74" creationId="{1B7C38A3-A941-89DA-BECF-7FE01DAF2994}"/>
          </ac:spMkLst>
        </pc:spChg>
        <pc:spChg chg="mod">
          <ac:chgData name="Koen Verbeeck" userId="24d0e79a7fd977da" providerId="LiveId" clId="{BA5CD2F8-66DA-43DE-8187-1C492E55A66A}" dt="2023-10-17T10:37:49.308" v="1229"/>
          <ac:spMkLst>
            <pc:docMk/>
            <pc:sldMk cId="451764680" sldId="2147479161"/>
            <ac:spMk id="75" creationId="{39A2F95A-A8CB-6FE4-2F7A-C8218EFD8A6C}"/>
          </ac:spMkLst>
        </pc:spChg>
        <pc:spChg chg="mod">
          <ac:chgData name="Koen Verbeeck" userId="24d0e79a7fd977da" providerId="LiveId" clId="{BA5CD2F8-66DA-43DE-8187-1C492E55A66A}" dt="2023-10-17T10:37:49.308" v="1229"/>
          <ac:spMkLst>
            <pc:docMk/>
            <pc:sldMk cId="451764680" sldId="2147479161"/>
            <ac:spMk id="76" creationId="{EC141828-2604-1542-A534-115B312B5FBD}"/>
          </ac:spMkLst>
        </pc:spChg>
        <pc:spChg chg="mod">
          <ac:chgData name="Koen Verbeeck" userId="24d0e79a7fd977da" providerId="LiveId" clId="{BA5CD2F8-66DA-43DE-8187-1C492E55A66A}" dt="2023-10-17T10:37:49.308" v="1229"/>
          <ac:spMkLst>
            <pc:docMk/>
            <pc:sldMk cId="451764680" sldId="2147479161"/>
            <ac:spMk id="77" creationId="{AFEDBD11-F5F1-0D74-56AF-3421E672B835}"/>
          </ac:spMkLst>
        </pc:spChg>
        <pc:spChg chg="add mod">
          <ac:chgData name="Koen Verbeeck" userId="24d0e79a7fd977da" providerId="LiveId" clId="{BA5CD2F8-66DA-43DE-8187-1C492E55A66A}" dt="2023-10-17T10:37:56.598" v="1243" actId="1038"/>
          <ac:spMkLst>
            <pc:docMk/>
            <pc:sldMk cId="451764680" sldId="2147479161"/>
            <ac:spMk id="78" creationId="{A7C87807-EE69-63AC-4269-6C96C9EAB9E7}"/>
          </ac:spMkLst>
        </pc:spChg>
        <pc:spChg chg="add mod">
          <ac:chgData name="Koen Verbeeck" userId="24d0e79a7fd977da" providerId="LiveId" clId="{BA5CD2F8-66DA-43DE-8187-1C492E55A66A}" dt="2023-10-17T10:37:56.598" v="1243" actId="1038"/>
          <ac:spMkLst>
            <pc:docMk/>
            <pc:sldMk cId="451764680" sldId="2147479161"/>
            <ac:spMk id="79" creationId="{EF805D83-6226-A83B-C4B6-0E673EBE8D38}"/>
          </ac:spMkLst>
        </pc:spChg>
        <pc:spChg chg="add mod">
          <ac:chgData name="Koen Verbeeck" userId="24d0e79a7fd977da" providerId="LiveId" clId="{BA5CD2F8-66DA-43DE-8187-1C492E55A66A}" dt="2023-10-17T10:37:56.598" v="1243" actId="1038"/>
          <ac:spMkLst>
            <pc:docMk/>
            <pc:sldMk cId="451764680" sldId="2147479161"/>
            <ac:spMk id="80" creationId="{235CB607-873E-975B-3D1E-DAEAE0561DF9}"/>
          </ac:spMkLst>
        </pc:spChg>
        <pc:spChg chg="mod">
          <ac:chgData name="Koen Verbeeck" userId="24d0e79a7fd977da" providerId="LiveId" clId="{BA5CD2F8-66DA-43DE-8187-1C492E55A66A}" dt="2023-10-17T10:37:49.308" v="1229"/>
          <ac:spMkLst>
            <pc:docMk/>
            <pc:sldMk cId="451764680" sldId="2147479161"/>
            <ac:spMk id="82" creationId="{D5C6CBA8-853B-2AEA-8444-86E4AC415B74}"/>
          </ac:spMkLst>
        </pc:spChg>
        <pc:spChg chg="mod">
          <ac:chgData name="Koen Verbeeck" userId="24d0e79a7fd977da" providerId="LiveId" clId="{BA5CD2F8-66DA-43DE-8187-1C492E55A66A}" dt="2023-10-17T10:37:49.308" v="1229"/>
          <ac:spMkLst>
            <pc:docMk/>
            <pc:sldMk cId="451764680" sldId="2147479161"/>
            <ac:spMk id="83" creationId="{A312728A-31DE-7CF0-7A46-E170E0E33B52}"/>
          </ac:spMkLst>
        </pc:spChg>
        <pc:spChg chg="mod">
          <ac:chgData name="Koen Verbeeck" userId="24d0e79a7fd977da" providerId="LiveId" clId="{BA5CD2F8-66DA-43DE-8187-1C492E55A66A}" dt="2023-10-17T10:37:49.308" v="1229"/>
          <ac:spMkLst>
            <pc:docMk/>
            <pc:sldMk cId="451764680" sldId="2147479161"/>
            <ac:spMk id="85" creationId="{D103C01E-625A-EC72-38EC-22811983EAEA}"/>
          </ac:spMkLst>
        </pc:spChg>
        <pc:spChg chg="mod">
          <ac:chgData name="Koen Verbeeck" userId="24d0e79a7fd977da" providerId="LiveId" clId="{BA5CD2F8-66DA-43DE-8187-1C492E55A66A}" dt="2023-10-17T10:37:49.308" v="1229"/>
          <ac:spMkLst>
            <pc:docMk/>
            <pc:sldMk cId="451764680" sldId="2147479161"/>
            <ac:spMk id="87" creationId="{2C6314E7-81B8-CCE5-5AB9-F0760041F32E}"/>
          </ac:spMkLst>
        </pc:spChg>
        <pc:spChg chg="mod">
          <ac:chgData name="Koen Verbeeck" userId="24d0e79a7fd977da" providerId="LiveId" clId="{BA5CD2F8-66DA-43DE-8187-1C492E55A66A}" dt="2023-10-17T10:37:49.308" v="1229"/>
          <ac:spMkLst>
            <pc:docMk/>
            <pc:sldMk cId="451764680" sldId="2147479161"/>
            <ac:spMk id="88" creationId="{26ED3DA3-5761-AAAD-1A71-6AE9389E1EF5}"/>
          </ac:spMkLst>
        </pc:spChg>
        <pc:spChg chg="mod">
          <ac:chgData name="Koen Verbeeck" userId="24d0e79a7fd977da" providerId="LiveId" clId="{BA5CD2F8-66DA-43DE-8187-1C492E55A66A}" dt="2023-10-17T10:37:49.308" v="1229"/>
          <ac:spMkLst>
            <pc:docMk/>
            <pc:sldMk cId="451764680" sldId="2147479161"/>
            <ac:spMk id="89" creationId="{FE879F39-A404-71EF-E40F-301A3CD9B416}"/>
          </ac:spMkLst>
        </pc:spChg>
        <pc:spChg chg="mod">
          <ac:chgData name="Koen Verbeeck" userId="24d0e79a7fd977da" providerId="LiveId" clId="{BA5CD2F8-66DA-43DE-8187-1C492E55A66A}" dt="2023-10-17T10:37:49.308" v="1229"/>
          <ac:spMkLst>
            <pc:docMk/>
            <pc:sldMk cId="451764680" sldId="2147479161"/>
            <ac:spMk id="90" creationId="{F1D97922-3C3E-2E53-7485-27E79855F7B7}"/>
          </ac:spMkLst>
        </pc:spChg>
        <pc:spChg chg="mod">
          <ac:chgData name="Koen Verbeeck" userId="24d0e79a7fd977da" providerId="LiveId" clId="{BA5CD2F8-66DA-43DE-8187-1C492E55A66A}" dt="2023-10-17T10:37:49.308" v="1229"/>
          <ac:spMkLst>
            <pc:docMk/>
            <pc:sldMk cId="451764680" sldId="2147479161"/>
            <ac:spMk id="92" creationId="{0A8AAE4D-6259-99FF-AB00-57BA12A9042B}"/>
          </ac:spMkLst>
        </pc:spChg>
        <pc:spChg chg="mod">
          <ac:chgData name="Koen Verbeeck" userId="24d0e79a7fd977da" providerId="LiveId" clId="{BA5CD2F8-66DA-43DE-8187-1C492E55A66A}" dt="2023-10-17T10:37:49.308" v="1229"/>
          <ac:spMkLst>
            <pc:docMk/>
            <pc:sldMk cId="451764680" sldId="2147479161"/>
            <ac:spMk id="94" creationId="{7BBE765B-BAB7-EB0A-A03F-3C057BB49DDD}"/>
          </ac:spMkLst>
        </pc:spChg>
        <pc:spChg chg="mod">
          <ac:chgData name="Koen Verbeeck" userId="24d0e79a7fd977da" providerId="LiveId" clId="{BA5CD2F8-66DA-43DE-8187-1C492E55A66A}" dt="2023-10-17T10:37:49.308" v="1229"/>
          <ac:spMkLst>
            <pc:docMk/>
            <pc:sldMk cId="451764680" sldId="2147479161"/>
            <ac:spMk id="95" creationId="{02D9E2AA-C437-9137-98CF-2E6ECBB48652}"/>
          </ac:spMkLst>
        </pc:spChg>
        <pc:spChg chg="mod">
          <ac:chgData name="Koen Verbeeck" userId="24d0e79a7fd977da" providerId="LiveId" clId="{BA5CD2F8-66DA-43DE-8187-1C492E55A66A}" dt="2023-10-17T10:37:49.308" v="1229"/>
          <ac:spMkLst>
            <pc:docMk/>
            <pc:sldMk cId="451764680" sldId="2147479161"/>
            <ac:spMk id="96" creationId="{0DD12372-B114-3AF8-B580-2211CA26F9FD}"/>
          </ac:spMkLst>
        </pc:spChg>
        <pc:spChg chg="mod">
          <ac:chgData name="Koen Verbeeck" userId="24d0e79a7fd977da" providerId="LiveId" clId="{BA5CD2F8-66DA-43DE-8187-1C492E55A66A}" dt="2023-10-17T10:37:49.308" v="1229"/>
          <ac:spMkLst>
            <pc:docMk/>
            <pc:sldMk cId="451764680" sldId="2147479161"/>
            <ac:spMk id="97" creationId="{590182E0-A063-469B-78CF-9B90CB3A8D8A}"/>
          </ac:spMkLst>
        </pc:spChg>
        <pc:spChg chg="mod">
          <ac:chgData name="Koen Verbeeck" userId="24d0e79a7fd977da" providerId="LiveId" clId="{BA5CD2F8-66DA-43DE-8187-1C492E55A66A}" dt="2023-10-17T10:37:49.308" v="1229"/>
          <ac:spMkLst>
            <pc:docMk/>
            <pc:sldMk cId="451764680" sldId="2147479161"/>
            <ac:spMk id="98" creationId="{A7367AE9-012D-D190-ADF8-71D2594ECE0E}"/>
          </ac:spMkLst>
        </pc:spChg>
        <pc:spChg chg="mod">
          <ac:chgData name="Koen Verbeeck" userId="24d0e79a7fd977da" providerId="LiveId" clId="{BA5CD2F8-66DA-43DE-8187-1C492E55A66A}" dt="2023-10-17T10:37:49.308" v="1229"/>
          <ac:spMkLst>
            <pc:docMk/>
            <pc:sldMk cId="451764680" sldId="2147479161"/>
            <ac:spMk id="99" creationId="{6E9E5F57-CD66-47DE-D332-28AA665AEE70}"/>
          </ac:spMkLst>
        </pc:spChg>
        <pc:spChg chg="mod">
          <ac:chgData name="Koen Verbeeck" userId="24d0e79a7fd977da" providerId="LiveId" clId="{BA5CD2F8-66DA-43DE-8187-1C492E55A66A}" dt="2023-10-17T10:37:49.308" v="1229"/>
          <ac:spMkLst>
            <pc:docMk/>
            <pc:sldMk cId="451764680" sldId="2147479161"/>
            <ac:spMk id="100" creationId="{C2B121D8-8E50-49F4-C559-6216B3BCDFB0}"/>
          </ac:spMkLst>
        </pc:spChg>
        <pc:spChg chg="mod">
          <ac:chgData name="Koen Verbeeck" userId="24d0e79a7fd977da" providerId="LiveId" clId="{BA5CD2F8-66DA-43DE-8187-1C492E55A66A}" dt="2023-10-17T10:37:49.308" v="1229"/>
          <ac:spMkLst>
            <pc:docMk/>
            <pc:sldMk cId="451764680" sldId="2147479161"/>
            <ac:spMk id="101" creationId="{F9586119-8049-0F45-51FA-1E09766EAAA1}"/>
          </ac:spMkLst>
        </pc:spChg>
        <pc:spChg chg="mod">
          <ac:chgData name="Koen Verbeeck" userId="24d0e79a7fd977da" providerId="LiveId" clId="{BA5CD2F8-66DA-43DE-8187-1C492E55A66A}" dt="2023-10-17T10:37:49.308" v="1229"/>
          <ac:spMkLst>
            <pc:docMk/>
            <pc:sldMk cId="451764680" sldId="2147479161"/>
            <ac:spMk id="103" creationId="{F408B1C6-7C2B-40C0-2741-33482A1401ED}"/>
          </ac:spMkLst>
        </pc:spChg>
        <pc:spChg chg="mod">
          <ac:chgData name="Koen Verbeeck" userId="24d0e79a7fd977da" providerId="LiveId" clId="{BA5CD2F8-66DA-43DE-8187-1C492E55A66A}" dt="2023-10-17T10:37:49.308" v="1229"/>
          <ac:spMkLst>
            <pc:docMk/>
            <pc:sldMk cId="451764680" sldId="2147479161"/>
            <ac:spMk id="104" creationId="{B67B0556-1E37-8A79-0546-4D196B220FB7}"/>
          </ac:spMkLst>
        </pc:spChg>
        <pc:spChg chg="mod">
          <ac:chgData name="Koen Verbeeck" userId="24d0e79a7fd977da" providerId="LiveId" clId="{BA5CD2F8-66DA-43DE-8187-1C492E55A66A}" dt="2023-10-17T10:37:49.308" v="1229"/>
          <ac:spMkLst>
            <pc:docMk/>
            <pc:sldMk cId="451764680" sldId="2147479161"/>
            <ac:spMk id="105" creationId="{62C2CE87-4A26-C8DA-AFB8-674DDE2FE5C2}"/>
          </ac:spMkLst>
        </pc:spChg>
        <pc:grpChg chg="add del mod">
          <ac:chgData name="Koen Verbeeck" userId="24d0e79a7fd977da" providerId="LiveId" clId="{BA5CD2F8-66DA-43DE-8187-1C492E55A66A}" dt="2023-10-17T10:37:49.289" v="1228"/>
          <ac:grpSpMkLst>
            <pc:docMk/>
            <pc:sldMk cId="451764680" sldId="2147479161"/>
            <ac:grpSpMk id="5" creationId="{1A76C1E0-715F-3A04-8A5C-4A508C6E019F}"/>
          </ac:grpSpMkLst>
        </pc:grpChg>
        <pc:grpChg chg="mod">
          <ac:chgData name="Koen Verbeeck" userId="24d0e79a7fd977da" providerId="LiveId" clId="{BA5CD2F8-66DA-43DE-8187-1C492E55A66A}" dt="2023-10-17T10:37:46.513" v="1225"/>
          <ac:grpSpMkLst>
            <pc:docMk/>
            <pc:sldMk cId="451764680" sldId="2147479161"/>
            <ac:grpSpMk id="8" creationId="{8B65DCF9-88A8-6EBF-4A93-0371ADB920B6}"/>
          </ac:grpSpMkLst>
        </pc:grpChg>
        <pc:grpChg chg="mod">
          <ac:chgData name="Koen Verbeeck" userId="24d0e79a7fd977da" providerId="LiveId" clId="{BA5CD2F8-66DA-43DE-8187-1C492E55A66A}" dt="2023-10-17T10:37:46.513" v="1225"/>
          <ac:grpSpMkLst>
            <pc:docMk/>
            <pc:sldMk cId="451764680" sldId="2147479161"/>
            <ac:grpSpMk id="9" creationId="{76BBAB1F-553A-6492-AA4F-6DE14C2A346C}"/>
          </ac:grpSpMkLst>
        </pc:grpChg>
        <pc:grpChg chg="mod">
          <ac:chgData name="Koen Verbeeck" userId="24d0e79a7fd977da" providerId="LiveId" clId="{BA5CD2F8-66DA-43DE-8187-1C492E55A66A}" dt="2023-10-17T10:37:46.513" v="1225"/>
          <ac:grpSpMkLst>
            <pc:docMk/>
            <pc:sldMk cId="451764680" sldId="2147479161"/>
            <ac:grpSpMk id="20" creationId="{8553B7BF-3CB5-A29D-3732-F2323344C612}"/>
          </ac:grpSpMkLst>
        </pc:grpChg>
        <pc:grpChg chg="add del mod">
          <ac:chgData name="Koen Verbeeck" userId="24d0e79a7fd977da" providerId="LiveId" clId="{BA5CD2F8-66DA-43DE-8187-1C492E55A66A}" dt="2023-10-17T10:37:49.289" v="1228"/>
          <ac:grpSpMkLst>
            <pc:docMk/>
            <pc:sldMk cId="451764680" sldId="2147479161"/>
            <ac:grpSpMk id="30" creationId="{CBA38E59-C6B7-E2CC-9089-28CF11D2830C}"/>
          </ac:grpSpMkLst>
        </pc:grpChg>
        <pc:grpChg chg="mod">
          <ac:chgData name="Koen Verbeeck" userId="24d0e79a7fd977da" providerId="LiveId" clId="{BA5CD2F8-66DA-43DE-8187-1C492E55A66A}" dt="2023-10-17T10:37:46.513" v="1225"/>
          <ac:grpSpMkLst>
            <pc:docMk/>
            <pc:sldMk cId="451764680" sldId="2147479161"/>
            <ac:grpSpMk id="33" creationId="{1F123782-1A9B-85B8-7331-5A8351518248}"/>
          </ac:grpSpMkLst>
        </pc:grpChg>
        <pc:grpChg chg="mod">
          <ac:chgData name="Koen Verbeeck" userId="24d0e79a7fd977da" providerId="LiveId" clId="{BA5CD2F8-66DA-43DE-8187-1C492E55A66A}" dt="2023-10-17T10:37:46.513" v="1225"/>
          <ac:grpSpMkLst>
            <pc:docMk/>
            <pc:sldMk cId="451764680" sldId="2147479161"/>
            <ac:grpSpMk id="40" creationId="{8B6DF487-8BD4-D812-EDF8-6C8443F19995}"/>
          </ac:grpSpMkLst>
        </pc:grpChg>
        <pc:grpChg chg="mod">
          <ac:chgData name="Koen Verbeeck" userId="24d0e79a7fd977da" providerId="LiveId" clId="{BA5CD2F8-66DA-43DE-8187-1C492E55A66A}" dt="2023-10-17T10:37:46.513" v="1225"/>
          <ac:grpSpMkLst>
            <pc:docMk/>
            <pc:sldMk cId="451764680" sldId="2147479161"/>
            <ac:grpSpMk id="42" creationId="{D9B38DF3-B59D-DCC3-DC67-DB11B2A19D35}"/>
          </ac:grpSpMkLst>
        </pc:grpChg>
        <pc:grpChg chg="mod">
          <ac:chgData name="Koen Verbeeck" userId="24d0e79a7fd977da" providerId="LiveId" clId="{BA5CD2F8-66DA-43DE-8187-1C492E55A66A}" dt="2023-10-17T10:37:46.513" v="1225"/>
          <ac:grpSpMkLst>
            <pc:docMk/>
            <pc:sldMk cId="451764680" sldId="2147479161"/>
            <ac:grpSpMk id="51" creationId="{D5736DD1-1531-8EE1-ACC8-C9AFE61E8FC3}"/>
          </ac:grpSpMkLst>
        </pc:grpChg>
        <pc:grpChg chg="add mod">
          <ac:chgData name="Koen Verbeeck" userId="24d0e79a7fd977da" providerId="LiveId" clId="{BA5CD2F8-66DA-43DE-8187-1C492E55A66A}" dt="2023-10-17T10:37:56.598" v="1243" actId="1038"/>
          <ac:grpSpMkLst>
            <pc:docMk/>
            <pc:sldMk cId="451764680" sldId="2147479161"/>
            <ac:grpSpMk id="56" creationId="{B44836EF-D860-5E13-237D-2E18FD260C9D}"/>
          </ac:grpSpMkLst>
        </pc:grpChg>
        <pc:grpChg chg="mod">
          <ac:chgData name="Koen Verbeeck" userId="24d0e79a7fd977da" providerId="LiveId" clId="{BA5CD2F8-66DA-43DE-8187-1C492E55A66A}" dt="2023-10-17T10:37:49.308" v="1229"/>
          <ac:grpSpMkLst>
            <pc:docMk/>
            <pc:sldMk cId="451764680" sldId="2147479161"/>
            <ac:grpSpMk id="59" creationId="{997A7B02-2080-E317-C4AC-1440D29788AF}"/>
          </ac:grpSpMkLst>
        </pc:grpChg>
        <pc:grpChg chg="mod">
          <ac:chgData name="Koen Verbeeck" userId="24d0e79a7fd977da" providerId="LiveId" clId="{BA5CD2F8-66DA-43DE-8187-1C492E55A66A}" dt="2023-10-17T10:37:49.308" v="1229"/>
          <ac:grpSpMkLst>
            <pc:docMk/>
            <pc:sldMk cId="451764680" sldId="2147479161"/>
            <ac:grpSpMk id="60" creationId="{B431E10E-7167-E25C-4965-DFD5C95D852A}"/>
          </ac:grpSpMkLst>
        </pc:grpChg>
        <pc:grpChg chg="mod">
          <ac:chgData name="Koen Verbeeck" userId="24d0e79a7fd977da" providerId="LiveId" clId="{BA5CD2F8-66DA-43DE-8187-1C492E55A66A}" dt="2023-10-17T10:37:49.308" v="1229"/>
          <ac:grpSpMkLst>
            <pc:docMk/>
            <pc:sldMk cId="451764680" sldId="2147479161"/>
            <ac:grpSpMk id="71" creationId="{BF9910F5-F722-5F62-0E66-C48B23909B95}"/>
          </ac:grpSpMkLst>
        </pc:grpChg>
        <pc:grpChg chg="add mod">
          <ac:chgData name="Koen Verbeeck" userId="24d0e79a7fd977da" providerId="LiveId" clId="{BA5CD2F8-66DA-43DE-8187-1C492E55A66A}" dt="2023-10-17T10:37:56.598" v="1243" actId="1038"/>
          <ac:grpSpMkLst>
            <pc:docMk/>
            <pc:sldMk cId="451764680" sldId="2147479161"/>
            <ac:grpSpMk id="81" creationId="{0C70D4C1-3A06-534A-410E-CAAB40787104}"/>
          </ac:grpSpMkLst>
        </pc:grpChg>
        <pc:grpChg chg="mod">
          <ac:chgData name="Koen Verbeeck" userId="24d0e79a7fd977da" providerId="LiveId" clId="{BA5CD2F8-66DA-43DE-8187-1C492E55A66A}" dt="2023-10-17T10:37:49.308" v="1229"/>
          <ac:grpSpMkLst>
            <pc:docMk/>
            <pc:sldMk cId="451764680" sldId="2147479161"/>
            <ac:grpSpMk id="84" creationId="{F288E2E8-13E2-2202-5DB8-8E20782DC8FE}"/>
          </ac:grpSpMkLst>
        </pc:grpChg>
        <pc:grpChg chg="mod">
          <ac:chgData name="Koen Verbeeck" userId="24d0e79a7fd977da" providerId="LiveId" clId="{BA5CD2F8-66DA-43DE-8187-1C492E55A66A}" dt="2023-10-17T10:37:49.308" v="1229"/>
          <ac:grpSpMkLst>
            <pc:docMk/>
            <pc:sldMk cId="451764680" sldId="2147479161"/>
            <ac:grpSpMk id="91" creationId="{78A93B69-9F2C-4B5A-49E9-649DB96E9B2C}"/>
          </ac:grpSpMkLst>
        </pc:grpChg>
        <pc:grpChg chg="mod">
          <ac:chgData name="Koen Verbeeck" userId="24d0e79a7fd977da" providerId="LiveId" clId="{BA5CD2F8-66DA-43DE-8187-1C492E55A66A}" dt="2023-10-17T10:37:49.308" v="1229"/>
          <ac:grpSpMkLst>
            <pc:docMk/>
            <pc:sldMk cId="451764680" sldId="2147479161"/>
            <ac:grpSpMk id="93" creationId="{B72BF8C2-3EC0-7F94-B391-2DCFF5BAE3BB}"/>
          </ac:grpSpMkLst>
        </pc:grpChg>
        <pc:grpChg chg="mod">
          <ac:chgData name="Koen Verbeeck" userId="24d0e79a7fd977da" providerId="LiveId" clId="{BA5CD2F8-66DA-43DE-8187-1C492E55A66A}" dt="2023-10-17T10:37:49.308" v="1229"/>
          <ac:grpSpMkLst>
            <pc:docMk/>
            <pc:sldMk cId="451764680" sldId="2147479161"/>
            <ac:grpSpMk id="102" creationId="{D104EAA1-287A-01F0-5BB0-CDFE634B9448}"/>
          </ac:grpSpMkLst>
        </pc:grpChg>
        <pc:cxnChg chg="mod">
          <ac:chgData name="Koen Verbeeck" userId="24d0e79a7fd977da" providerId="LiveId" clId="{BA5CD2F8-66DA-43DE-8187-1C492E55A66A}" dt="2023-10-17T10:37:46.513" v="1225"/>
          <ac:cxnSpMkLst>
            <pc:docMk/>
            <pc:sldMk cId="451764680" sldId="2147479161"/>
            <ac:cxnSpMk id="11" creationId="{BD8C2164-9A2B-B669-0920-0E441ADA967F}"/>
          </ac:cxnSpMkLst>
        </pc:cxnChg>
        <pc:cxnChg chg="mod">
          <ac:chgData name="Koen Verbeeck" userId="24d0e79a7fd977da" providerId="LiveId" clId="{BA5CD2F8-66DA-43DE-8187-1C492E55A66A}" dt="2023-10-17T10:37:46.513" v="1225"/>
          <ac:cxnSpMkLst>
            <pc:docMk/>
            <pc:sldMk cId="451764680" sldId="2147479161"/>
            <ac:cxnSpMk id="16" creationId="{52652BD4-3D96-C6AA-ADFC-624AB7F2E848}"/>
          </ac:cxnSpMkLst>
        </pc:cxnChg>
        <pc:cxnChg chg="mod">
          <ac:chgData name="Koen Verbeeck" userId="24d0e79a7fd977da" providerId="LiveId" clId="{BA5CD2F8-66DA-43DE-8187-1C492E55A66A}" dt="2023-10-17T10:37:46.513" v="1225"/>
          <ac:cxnSpMkLst>
            <pc:docMk/>
            <pc:sldMk cId="451764680" sldId="2147479161"/>
            <ac:cxnSpMk id="35" creationId="{85E8371E-1D41-2802-E101-A09A90A4E3C2}"/>
          </ac:cxnSpMkLst>
        </pc:cxnChg>
        <pc:cxnChg chg="mod">
          <ac:chgData name="Koen Verbeeck" userId="24d0e79a7fd977da" providerId="LiveId" clId="{BA5CD2F8-66DA-43DE-8187-1C492E55A66A}" dt="2023-10-17T10:37:49.308" v="1229"/>
          <ac:cxnSpMkLst>
            <pc:docMk/>
            <pc:sldMk cId="451764680" sldId="2147479161"/>
            <ac:cxnSpMk id="62" creationId="{7BEC3C28-63D0-3BEA-0315-7E2472467C7D}"/>
          </ac:cxnSpMkLst>
        </pc:cxnChg>
        <pc:cxnChg chg="mod">
          <ac:chgData name="Koen Verbeeck" userId="24d0e79a7fd977da" providerId="LiveId" clId="{BA5CD2F8-66DA-43DE-8187-1C492E55A66A}" dt="2023-10-17T10:37:49.308" v="1229"/>
          <ac:cxnSpMkLst>
            <pc:docMk/>
            <pc:sldMk cId="451764680" sldId="2147479161"/>
            <ac:cxnSpMk id="67" creationId="{23E019FF-7A33-26CC-7A59-C5AD5496FDD6}"/>
          </ac:cxnSpMkLst>
        </pc:cxnChg>
        <pc:cxnChg chg="mod">
          <ac:chgData name="Koen Verbeeck" userId="24d0e79a7fd977da" providerId="LiveId" clId="{BA5CD2F8-66DA-43DE-8187-1C492E55A66A}" dt="2023-10-17T10:37:49.308" v="1229"/>
          <ac:cxnSpMkLst>
            <pc:docMk/>
            <pc:sldMk cId="451764680" sldId="2147479161"/>
            <ac:cxnSpMk id="86" creationId="{D7CAA5BF-634C-6CF1-4721-DE569CF2FBA6}"/>
          </ac:cxnSpMkLst>
        </pc:cxnChg>
      </pc:sldChg>
      <pc:sldChg chg="addSp delSp modSp new mod">
        <pc:chgData name="Koen Verbeeck" userId="24d0e79a7fd977da" providerId="LiveId" clId="{BA5CD2F8-66DA-43DE-8187-1C492E55A66A}" dt="2023-10-17T10:38:34.545" v="1250"/>
        <pc:sldMkLst>
          <pc:docMk/>
          <pc:sldMk cId="2218536291" sldId="2147479162"/>
        </pc:sldMkLst>
        <pc:spChg chg="del">
          <ac:chgData name="Koen Verbeeck" userId="24d0e79a7fd977da" providerId="LiveId" clId="{BA5CD2F8-66DA-43DE-8187-1C492E55A66A}" dt="2023-10-17T10:38:32.660" v="1245" actId="478"/>
          <ac:spMkLst>
            <pc:docMk/>
            <pc:sldMk cId="2218536291" sldId="2147479162"/>
            <ac:spMk id="2" creationId="{BDC1FC97-3AAC-ED85-ABB2-19ED2809A677}"/>
          </ac:spMkLst>
        </pc:spChg>
        <pc:spChg chg="del">
          <ac:chgData name="Koen Verbeeck" userId="24d0e79a7fd977da" providerId="LiveId" clId="{BA5CD2F8-66DA-43DE-8187-1C492E55A66A}" dt="2023-10-17T10:38:32.660" v="1245" actId="478"/>
          <ac:spMkLst>
            <pc:docMk/>
            <pc:sldMk cId="2218536291" sldId="2147479162"/>
            <ac:spMk id="3" creationId="{963577EC-097F-38B3-FB85-830359DA0F54}"/>
          </ac:spMkLst>
        </pc:spChg>
        <pc:spChg chg="add del mod">
          <ac:chgData name="Koen Verbeeck" userId="24d0e79a7fd977da" providerId="LiveId" clId="{BA5CD2F8-66DA-43DE-8187-1C492E55A66A}" dt="2023-10-17T10:38:34.520" v="1249"/>
          <ac:spMkLst>
            <pc:docMk/>
            <pc:sldMk cId="2218536291" sldId="2147479162"/>
            <ac:spMk id="4" creationId="{E75F744A-5136-18F3-6F29-A2140DA8BF76}"/>
          </ac:spMkLst>
        </pc:spChg>
        <pc:spChg chg="mod">
          <ac:chgData name="Koen Verbeeck" userId="24d0e79a7fd977da" providerId="LiveId" clId="{BA5CD2F8-66DA-43DE-8187-1C492E55A66A}" dt="2023-10-17T10:38:33.019" v="1246"/>
          <ac:spMkLst>
            <pc:docMk/>
            <pc:sldMk cId="2218536291" sldId="2147479162"/>
            <ac:spMk id="6" creationId="{952E5981-E10F-90C9-F6A0-E84911A63C25}"/>
          </ac:spMkLst>
        </pc:spChg>
        <pc:spChg chg="mod">
          <ac:chgData name="Koen Verbeeck" userId="24d0e79a7fd977da" providerId="LiveId" clId="{BA5CD2F8-66DA-43DE-8187-1C492E55A66A}" dt="2023-10-17T10:38:33.019" v="1246"/>
          <ac:spMkLst>
            <pc:docMk/>
            <pc:sldMk cId="2218536291" sldId="2147479162"/>
            <ac:spMk id="7" creationId="{E4B62038-4498-52B5-14A9-1215B3093873}"/>
          </ac:spMkLst>
        </pc:spChg>
        <pc:spChg chg="mod">
          <ac:chgData name="Koen Verbeeck" userId="24d0e79a7fd977da" providerId="LiveId" clId="{BA5CD2F8-66DA-43DE-8187-1C492E55A66A}" dt="2023-10-17T10:38:33.019" v="1246"/>
          <ac:spMkLst>
            <pc:docMk/>
            <pc:sldMk cId="2218536291" sldId="2147479162"/>
            <ac:spMk id="10" creationId="{B5E4CC67-C9A0-C47A-929C-E3283596C60C}"/>
          </ac:spMkLst>
        </pc:spChg>
        <pc:spChg chg="mod">
          <ac:chgData name="Koen Verbeeck" userId="24d0e79a7fd977da" providerId="LiveId" clId="{BA5CD2F8-66DA-43DE-8187-1C492E55A66A}" dt="2023-10-17T10:38:33.019" v="1246"/>
          <ac:spMkLst>
            <pc:docMk/>
            <pc:sldMk cId="2218536291" sldId="2147479162"/>
            <ac:spMk id="12" creationId="{8B125D74-DDDD-87B4-FF7D-072090ABCE12}"/>
          </ac:spMkLst>
        </pc:spChg>
        <pc:spChg chg="mod">
          <ac:chgData name="Koen Verbeeck" userId="24d0e79a7fd977da" providerId="LiveId" clId="{BA5CD2F8-66DA-43DE-8187-1C492E55A66A}" dt="2023-10-17T10:38:33.019" v="1246"/>
          <ac:spMkLst>
            <pc:docMk/>
            <pc:sldMk cId="2218536291" sldId="2147479162"/>
            <ac:spMk id="13" creationId="{3F51D771-9CC1-BBEF-B731-896367EF542A}"/>
          </ac:spMkLst>
        </pc:spChg>
        <pc:spChg chg="mod">
          <ac:chgData name="Koen Verbeeck" userId="24d0e79a7fd977da" providerId="LiveId" clId="{BA5CD2F8-66DA-43DE-8187-1C492E55A66A}" dt="2023-10-17T10:38:33.019" v="1246"/>
          <ac:spMkLst>
            <pc:docMk/>
            <pc:sldMk cId="2218536291" sldId="2147479162"/>
            <ac:spMk id="14" creationId="{8E039C1E-974B-53E1-5127-DA3A6AFEE5B3}"/>
          </ac:spMkLst>
        </pc:spChg>
        <pc:spChg chg="mod">
          <ac:chgData name="Koen Verbeeck" userId="24d0e79a7fd977da" providerId="LiveId" clId="{BA5CD2F8-66DA-43DE-8187-1C492E55A66A}" dt="2023-10-17T10:38:33.019" v="1246"/>
          <ac:spMkLst>
            <pc:docMk/>
            <pc:sldMk cId="2218536291" sldId="2147479162"/>
            <ac:spMk id="15" creationId="{A4BFD4FB-7554-26F9-B208-A9DC3E3BE9FF}"/>
          </ac:spMkLst>
        </pc:spChg>
        <pc:spChg chg="mod">
          <ac:chgData name="Koen Verbeeck" userId="24d0e79a7fd977da" providerId="LiveId" clId="{BA5CD2F8-66DA-43DE-8187-1C492E55A66A}" dt="2023-10-17T10:38:33.019" v="1246"/>
          <ac:spMkLst>
            <pc:docMk/>
            <pc:sldMk cId="2218536291" sldId="2147479162"/>
            <ac:spMk id="17" creationId="{23D2498F-629D-6DBA-0DC9-3A74A049A015}"/>
          </ac:spMkLst>
        </pc:spChg>
        <pc:spChg chg="mod">
          <ac:chgData name="Koen Verbeeck" userId="24d0e79a7fd977da" providerId="LiveId" clId="{BA5CD2F8-66DA-43DE-8187-1C492E55A66A}" dt="2023-10-17T10:38:33.019" v="1246"/>
          <ac:spMkLst>
            <pc:docMk/>
            <pc:sldMk cId="2218536291" sldId="2147479162"/>
            <ac:spMk id="18" creationId="{0B34BEBE-9778-E9C4-668E-BB2558A4ED89}"/>
          </ac:spMkLst>
        </pc:spChg>
        <pc:spChg chg="mod">
          <ac:chgData name="Koen Verbeeck" userId="24d0e79a7fd977da" providerId="LiveId" clId="{BA5CD2F8-66DA-43DE-8187-1C492E55A66A}" dt="2023-10-17T10:38:33.019" v="1246"/>
          <ac:spMkLst>
            <pc:docMk/>
            <pc:sldMk cId="2218536291" sldId="2147479162"/>
            <ac:spMk id="19" creationId="{412DDC49-B1BD-0A62-0AB1-DE2F906B0FAE}"/>
          </ac:spMkLst>
        </pc:spChg>
        <pc:spChg chg="mod">
          <ac:chgData name="Koen Verbeeck" userId="24d0e79a7fd977da" providerId="LiveId" clId="{BA5CD2F8-66DA-43DE-8187-1C492E55A66A}" dt="2023-10-17T10:38:33.019" v="1246"/>
          <ac:spMkLst>
            <pc:docMk/>
            <pc:sldMk cId="2218536291" sldId="2147479162"/>
            <ac:spMk id="21" creationId="{1C09EC0B-AB45-D434-E4F9-764CE862FF86}"/>
          </ac:spMkLst>
        </pc:spChg>
        <pc:spChg chg="mod">
          <ac:chgData name="Koen Verbeeck" userId="24d0e79a7fd977da" providerId="LiveId" clId="{BA5CD2F8-66DA-43DE-8187-1C492E55A66A}" dt="2023-10-17T10:38:33.019" v="1246"/>
          <ac:spMkLst>
            <pc:docMk/>
            <pc:sldMk cId="2218536291" sldId="2147479162"/>
            <ac:spMk id="22" creationId="{274FB396-78E5-1835-6B37-F3F46FBB9034}"/>
          </ac:spMkLst>
        </pc:spChg>
        <pc:spChg chg="mod">
          <ac:chgData name="Koen Verbeeck" userId="24d0e79a7fd977da" providerId="LiveId" clId="{BA5CD2F8-66DA-43DE-8187-1C492E55A66A}" dt="2023-10-17T10:38:33.019" v="1246"/>
          <ac:spMkLst>
            <pc:docMk/>
            <pc:sldMk cId="2218536291" sldId="2147479162"/>
            <ac:spMk id="23" creationId="{EF61209F-EC8F-40D0-D9C0-6E3DBC43F5EC}"/>
          </ac:spMkLst>
        </pc:spChg>
        <pc:spChg chg="mod">
          <ac:chgData name="Koen Verbeeck" userId="24d0e79a7fd977da" providerId="LiveId" clId="{BA5CD2F8-66DA-43DE-8187-1C492E55A66A}" dt="2023-10-17T10:38:33.019" v="1246"/>
          <ac:spMkLst>
            <pc:docMk/>
            <pc:sldMk cId="2218536291" sldId="2147479162"/>
            <ac:spMk id="24" creationId="{255B6101-B14A-3853-0869-3E4CB31638C3}"/>
          </ac:spMkLst>
        </pc:spChg>
        <pc:spChg chg="mod">
          <ac:chgData name="Koen Verbeeck" userId="24d0e79a7fd977da" providerId="LiveId" clId="{BA5CD2F8-66DA-43DE-8187-1C492E55A66A}" dt="2023-10-17T10:38:33.019" v="1246"/>
          <ac:spMkLst>
            <pc:docMk/>
            <pc:sldMk cId="2218536291" sldId="2147479162"/>
            <ac:spMk id="25" creationId="{050314D8-3447-290D-BC3A-9FE651156657}"/>
          </ac:spMkLst>
        </pc:spChg>
        <pc:spChg chg="mod">
          <ac:chgData name="Koen Verbeeck" userId="24d0e79a7fd977da" providerId="LiveId" clId="{BA5CD2F8-66DA-43DE-8187-1C492E55A66A}" dt="2023-10-17T10:38:33.019" v="1246"/>
          <ac:spMkLst>
            <pc:docMk/>
            <pc:sldMk cId="2218536291" sldId="2147479162"/>
            <ac:spMk id="26" creationId="{020B879B-9085-9F8C-DE12-21ED751CD107}"/>
          </ac:spMkLst>
        </pc:spChg>
        <pc:spChg chg="add del mod">
          <ac:chgData name="Koen Verbeeck" userId="24d0e79a7fd977da" providerId="LiveId" clId="{BA5CD2F8-66DA-43DE-8187-1C492E55A66A}" dt="2023-10-17T10:38:34.520" v="1249"/>
          <ac:spMkLst>
            <pc:docMk/>
            <pc:sldMk cId="2218536291" sldId="2147479162"/>
            <ac:spMk id="27" creationId="{B031F344-E8ED-956D-2847-F8810FB0E259}"/>
          </ac:spMkLst>
        </pc:spChg>
        <pc:spChg chg="add del mod">
          <ac:chgData name="Koen Verbeeck" userId="24d0e79a7fd977da" providerId="LiveId" clId="{BA5CD2F8-66DA-43DE-8187-1C492E55A66A}" dt="2023-10-17T10:38:34.520" v="1249"/>
          <ac:spMkLst>
            <pc:docMk/>
            <pc:sldMk cId="2218536291" sldId="2147479162"/>
            <ac:spMk id="28" creationId="{C845C8A4-F98E-7532-8194-6F8F049E0961}"/>
          </ac:spMkLst>
        </pc:spChg>
        <pc:spChg chg="add del mod">
          <ac:chgData name="Koen Verbeeck" userId="24d0e79a7fd977da" providerId="LiveId" clId="{BA5CD2F8-66DA-43DE-8187-1C492E55A66A}" dt="2023-10-17T10:38:34.520" v="1249"/>
          <ac:spMkLst>
            <pc:docMk/>
            <pc:sldMk cId="2218536291" sldId="2147479162"/>
            <ac:spMk id="29" creationId="{30AAA20D-9682-5ED4-F272-D1E4E24D12B5}"/>
          </ac:spMkLst>
        </pc:spChg>
        <pc:spChg chg="mod">
          <ac:chgData name="Koen Verbeeck" userId="24d0e79a7fd977da" providerId="LiveId" clId="{BA5CD2F8-66DA-43DE-8187-1C492E55A66A}" dt="2023-10-17T10:38:33.019" v="1246"/>
          <ac:spMkLst>
            <pc:docMk/>
            <pc:sldMk cId="2218536291" sldId="2147479162"/>
            <ac:spMk id="31" creationId="{C023CF04-EB26-B32F-92AD-10D8056248C6}"/>
          </ac:spMkLst>
        </pc:spChg>
        <pc:spChg chg="mod">
          <ac:chgData name="Koen Verbeeck" userId="24d0e79a7fd977da" providerId="LiveId" clId="{BA5CD2F8-66DA-43DE-8187-1C492E55A66A}" dt="2023-10-17T10:38:33.019" v="1246"/>
          <ac:spMkLst>
            <pc:docMk/>
            <pc:sldMk cId="2218536291" sldId="2147479162"/>
            <ac:spMk id="32" creationId="{47BDC949-3DD4-DD8C-F00B-74D28FFED6FF}"/>
          </ac:spMkLst>
        </pc:spChg>
        <pc:spChg chg="mod">
          <ac:chgData name="Koen Verbeeck" userId="24d0e79a7fd977da" providerId="LiveId" clId="{BA5CD2F8-66DA-43DE-8187-1C492E55A66A}" dt="2023-10-17T10:38:33.019" v="1246"/>
          <ac:spMkLst>
            <pc:docMk/>
            <pc:sldMk cId="2218536291" sldId="2147479162"/>
            <ac:spMk id="34" creationId="{C49F3683-AE5D-4736-027C-981BB0787B3D}"/>
          </ac:spMkLst>
        </pc:spChg>
        <pc:spChg chg="mod">
          <ac:chgData name="Koen Verbeeck" userId="24d0e79a7fd977da" providerId="LiveId" clId="{BA5CD2F8-66DA-43DE-8187-1C492E55A66A}" dt="2023-10-17T10:38:33.019" v="1246"/>
          <ac:spMkLst>
            <pc:docMk/>
            <pc:sldMk cId="2218536291" sldId="2147479162"/>
            <ac:spMk id="36" creationId="{D5DA6CCC-DCA1-DC55-EC5B-18234110515C}"/>
          </ac:spMkLst>
        </pc:spChg>
        <pc:spChg chg="mod">
          <ac:chgData name="Koen Verbeeck" userId="24d0e79a7fd977da" providerId="LiveId" clId="{BA5CD2F8-66DA-43DE-8187-1C492E55A66A}" dt="2023-10-17T10:38:33.019" v="1246"/>
          <ac:spMkLst>
            <pc:docMk/>
            <pc:sldMk cId="2218536291" sldId="2147479162"/>
            <ac:spMk id="37" creationId="{DDB4BA7F-8848-70E3-376C-8A2340EC7298}"/>
          </ac:spMkLst>
        </pc:spChg>
        <pc:spChg chg="mod">
          <ac:chgData name="Koen Verbeeck" userId="24d0e79a7fd977da" providerId="LiveId" clId="{BA5CD2F8-66DA-43DE-8187-1C492E55A66A}" dt="2023-10-17T10:38:33.019" v="1246"/>
          <ac:spMkLst>
            <pc:docMk/>
            <pc:sldMk cId="2218536291" sldId="2147479162"/>
            <ac:spMk id="38" creationId="{D4DCD2D5-5BAC-304F-7779-E82ACE71E6DC}"/>
          </ac:spMkLst>
        </pc:spChg>
        <pc:spChg chg="mod">
          <ac:chgData name="Koen Verbeeck" userId="24d0e79a7fd977da" providerId="LiveId" clId="{BA5CD2F8-66DA-43DE-8187-1C492E55A66A}" dt="2023-10-17T10:38:33.019" v="1246"/>
          <ac:spMkLst>
            <pc:docMk/>
            <pc:sldMk cId="2218536291" sldId="2147479162"/>
            <ac:spMk id="39" creationId="{D5E441A7-0272-8CE9-334B-F840018AF8FA}"/>
          </ac:spMkLst>
        </pc:spChg>
        <pc:spChg chg="mod">
          <ac:chgData name="Koen Verbeeck" userId="24d0e79a7fd977da" providerId="LiveId" clId="{BA5CD2F8-66DA-43DE-8187-1C492E55A66A}" dt="2023-10-17T10:38:33.019" v="1246"/>
          <ac:spMkLst>
            <pc:docMk/>
            <pc:sldMk cId="2218536291" sldId="2147479162"/>
            <ac:spMk id="41" creationId="{6ABC8779-EC19-9738-477A-0C48741FC461}"/>
          </ac:spMkLst>
        </pc:spChg>
        <pc:spChg chg="mod">
          <ac:chgData name="Koen Verbeeck" userId="24d0e79a7fd977da" providerId="LiveId" clId="{BA5CD2F8-66DA-43DE-8187-1C492E55A66A}" dt="2023-10-17T10:38:33.019" v="1246"/>
          <ac:spMkLst>
            <pc:docMk/>
            <pc:sldMk cId="2218536291" sldId="2147479162"/>
            <ac:spMk id="43" creationId="{C2EAB2EC-0B9A-3D3B-EF0D-30F4FC2FA37C}"/>
          </ac:spMkLst>
        </pc:spChg>
        <pc:spChg chg="mod">
          <ac:chgData name="Koen Verbeeck" userId="24d0e79a7fd977da" providerId="LiveId" clId="{BA5CD2F8-66DA-43DE-8187-1C492E55A66A}" dt="2023-10-17T10:38:33.019" v="1246"/>
          <ac:spMkLst>
            <pc:docMk/>
            <pc:sldMk cId="2218536291" sldId="2147479162"/>
            <ac:spMk id="44" creationId="{A80729A5-91E4-107E-1375-B48985CDB577}"/>
          </ac:spMkLst>
        </pc:spChg>
        <pc:spChg chg="mod">
          <ac:chgData name="Koen Verbeeck" userId="24d0e79a7fd977da" providerId="LiveId" clId="{BA5CD2F8-66DA-43DE-8187-1C492E55A66A}" dt="2023-10-17T10:38:33.019" v="1246"/>
          <ac:spMkLst>
            <pc:docMk/>
            <pc:sldMk cId="2218536291" sldId="2147479162"/>
            <ac:spMk id="45" creationId="{5A68E584-F497-F762-B308-5EE256081CA3}"/>
          </ac:spMkLst>
        </pc:spChg>
        <pc:spChg chg="mod">
          <ac:chgData name="Koen Verbeeck" userId="24d0e79a7fd977da" providerId="LiveId" clId="{BA5CD2F8-66DA-43DE-8187-1C492E55A66A}" dt="2023-10-17T10:38:33.019" v="1246"/>
          <ac:spMkLst>
            <pc:docMk/>
            <pc:sldMk cId="2218536291" sldId="2147479162"/>
            <ac:spMk id="46" creationId="{F6030F18-E416-6382-9816-4E8605AB970D}"/>
          </ac:spMkLst>
        </pc:spChg>
        <pc:spChg chg="mod">
          <ac:chgData name="Koen Verbeeck" userId="24d0e79a7fd977da" providerId="LiveId" clId="{BA5CD2F8-66DA-43DE-8187-1C492E55A66A}" dt="2023-10-17T10:38:33.019" v="1246"/>
          <ac:spMkLst>
            <pc:docMk/>
            <pc:sldMk cId="2218536291" sldId="2147479162"/>
            <ac:spMk id="47" creationId="{D7343A6C-1979-28FB-FABB-C81E33A54718}"/>
          </ac:spMkLst>
        </pc:spChg>
        <pc:spChg chg="mod">
          <ac:chgData name="Koen Verbeeck" userId="24d0e79a7fd977da" providerId="LiveId" clId="{BA5CD2F8-66DA-43DE-8187-1C492E55A66A}" dt="2023-10-17T10:38:33.019" v="1246"/>
          <ac:spMkLst>
            <pc:docMk/>
            <pc:sldMk cId="2218536291" sldId="2147479162"/>
            <ac:spMk id="48" creationId="{CB406472-CD85-8122-E04E-1DF0ED58B53E}"/>
          </ac:spMkLst>
        </pc:spChg>
        <pc:spChg chg="mod">
          <ac:chgData name="Koen Verbeeck" userId="24d0e79a7fd977da" providerId="LiveId" clId="{BA5CD2F8-66DA-43DE-8187-1C492E55A66A}" dt="2023-10-17T10:38:33.019" v="1246"/>
          <ac:spMkLst>
            <pc:docMk/>
            <pc:sldMk cId="2218536291" sldId="2147479162"/>
            <ac:spMk id="49" creationId="{53BF607D-77EC-382D-D9B2-792FF9741CE9}"/>
          </ac:spMkLst>
        </pc:spChg>
        <pc:spChg chg="mod">
          <ac:chgData name="Koen Verbeeck" userId="24d0e79a7fd977da" providerId="LiveId" clId="{BA5CD2F8-66DA-43DE-8187-1C492E55A66A}" dt="2023-10-17T10:38:33.019" v="1246"/>
          <ac:spMkLst>
            <pc:docMk/>
            <pc:sldMk cId="2218536291" sldId="2147479162"/>
            <ac:spMk id="50" creationId="{C77664C5-BD69-BD37-AFB6-62F763D518B3}"/>
          </ac:spMkLst>
        </pc:spChg>
        <pc:spChg chg="mod">
          <ac:chgData name="Koen Verbeeck" userId="24d0e79a7fd977da" providerId="LiveId" clId="{BA5CD2F8-66DA-43DE-8187-1C492E55A66A}" dt="2023-10-17T10:38:33.019" v="1246"/>
          <ac:spMkLst>
            <pc:docMk/>
            <pc:sldMk cId="2218536291" sldId="2147479162"/>
            <ac:spMk id="52" creationId="{C771AE85-63E8-8F51-545A-515C7406E77D}"/>
          </ac:spMkLst>
        </pc:spChg>
        <pc:spChg chg="mod">
          <ac:chgData name="Koen Verbeeck" userId="24d0e79a7fd977da" providerId="LiveId" clId="{BA5CD2F8-66DA-43DE-8187-1C492E55A66A}" dt="2023-10-17T10:38:33.019" v="1246"/>
          <ac:spMkLst>
            <pc:docMk/>
            <pc:sldMk cId="2218536291" sldId="2147479162"/>
            <ac:spMk id="53" creationId="{E1A4D4CC-676E-9E82-BE07-E3F664DA98DD}"/>
          </ac:spMkLst>
        </pc:spChg>
        <pc:spChg chg="mod">
          <ac:chgData name="Koen Verbeeck" userId="24d0e79a7fd977da" providerId="LiveId" clId="{BA5CD2F8-66DA-43DE-8187-1C492E55A66A}" dt="2023-10-17T10:38:33.019" v="1246"/>
          <ac:spMkLst>
            <pc:docMk/>
            <pc:sldMk cId="2218536291" sldId="2147479162"/>
            <ac:spMk id="54" creationId="{ABE7857B-E756-8B63-1854-B3DDAEEEB343}"/>
          </ac:spMkLst>
        </pc:spChg>
        <pc:spChg chg="add del mod">
          <ac:chgData name="Koen Verbeeck" userId="24d0e79a7fd977da" providerId="LiveId" clId="{BA5CD2F8-66DA-43DE-8187-1C492E55A66A}" dt="2023-10-17T10:38:34.520" v="1249"/>
          <ac:spMkLst>
            <pc:docMk/>
            <pc:sldMk cId="2218536291" sldId="2147479162"/>
            <ac:spMk id="55" creationId="{A3941D70-EC64-DAEA-A5A5-C78C2E8AD689}"/>
          </ac:spMkLst>
        </pc:spChg>
        <pc:spChg chg="add del mod">
          <ac:chgData name="Koen Verbeeck" userId="24d0e79a7fd977da" providerId="LiveId" clId="{BA5CD2F8-66DA-43DE-8187-1C492E55A66A}" dt="2023-10-17T10:38:34.520" v="1249"/>
          <ac:spMkLst>
            <pc:docMk/>
            <pc:sldMk cId="2218536291" sldId="2147479162"/>
            <ac:spMk id="56" creationId="{E76B96DA-650C-A6A3-89C9-01CC73B852D4}"/>
          </ac:spMkLst>
        </pc:spChg>
        <pc:spChg chg="add del mod">
          <ac:chgData name="Koen Verbeeck" userId="24d0e79a7fd977da" providerId="LiveId" clId="{BA5CD2F8-66DA-43DE-8187-1C492E55A66A}" dt="2023-10-17T10:38:34.520" v="1249"/>
          <ac:spMkLst>
            <pc:docMk/>
            <pc:sldMk cId="2218536291" sldId="2147479162"/>
            <ac:spMk id="57" creationId="{391F5AC3-9BA8-30A1-9DB8-0360A9CDD5E7}"/>
          </ac:spMkLst>
        </pc:spChg>
        <pc:spChg chg="mod">
          <ac:chgData name="Koen Verbeeck" userId="24d0e79a7fd977da" providerId="LiveId" clId="{BA5CD2F8-66DA-43DE-8187-1C492E55A66A}" dt="2023-10-17T10:38:33.019" v="1246"/>
          <ac:spMkLst>
            <pc:docMk/>
            <pc:sldMk cId="2218536291" sldId="2147479162"/>
            <ac:spMk id="59" creationId="{DAB1775E-3C4D-BAF1-EC07-D397D7EB4F78}"/>
          </ac:spMkLst>
        </pc:spChg>
        <pc:spChg chg="mod">
          <ac:chgData name="Koen Verbeeck" userId="24d0e79a7fd977da" providerId="LiveId" clId="{BA5CD2F8-66DA-43DE-8187-1C492E55A66A}" dt="2023-10-17T10:38:33.019" v="1246"/>
          <ac:spMkLst>
            <pc:docMk/>
            <pc:sldMk cId="2218536291" sldId="2147479162"/>
            <ac:spMk id="61" creationId="{0278FA2D-7FBE-A6B4-131E-29EA53AE65BB}"/>
          </ac:spMkLst>
        </pc:spChg>
        <pc:spChg chg="mod">
          <ac:chgData name="Koen Verbeeck" userId="24d0e79a7fd977da" providerId="LiveId" clId="{BA5CD2F8-66DA-43DE-8187-1C492E55A66A}" dt="2023-10-17T10:38:33.019" v="1246"/>
          <ac:spMkLst>
            <pc:docMk/>
            <pc:sldMk cId="2218536291" sldId="2147479162"/>
            <ac:spMk id="62" creationId="{8A795A40-9706-7A36-320A-9EF2B3427F79}"/>
          </ac:spMkLst>
        </pc:spChg>
        <pc:spChg chg="mod">
          <ac:chgData name="Koen Verbeeck" userId="24d0e79a7fd977da" providerId="LiveId" clId="{BA5CD2F8-66DA-43DE-8187-1C492E55A66A}" dt="2023-10-17T10:38:33.019" v="1246"/>
          <ac:spMkLst>
            <pc:docMk/>
            <pc:sldMk cId="2218536291" sldId="2147479162"/>
            <ac:spMk id="63" creationId="{C4F0001A-FC37-BF6D-7907-7E4038F7E9F6}"/>
          </ac:spMkLst>
        </pc:spChg>
        <pc:spChg chg="add del mod">
          <ac:chgData name="Koen Verbeeck" userId="24d0e79a7fd977da" providerId="LiveId" clId="{BA5CD2F8-66DA-43DE-8187-1C492E55A66A}" dt="2023-10-17T10:38:34.520" v="1249"/>
          <ac:spMkLst>
            <pc:docMk/>
            <pc:sldMk cId="2218536291" sldId="2147479162"/>
            <ac:spMk id="64" creationId="{389A93E1-C62C-E2D3-C736-C87B1D374102}"/>
          </ac:spMkLst>
        </pc:spChg>
        <pc:spChg chg="add del mod">
          <ac:chgData name="Koen Verbeeck" userId="24d0e79a7fd977da" providerId="LiveId" clId="{BA5CD2F8-66DA-43DE-8187-1C492E55A66A}" dt="2023-10-17T10:38:34.520" v="1249"/>
          <ac:spMkLst>
            <pc:docMk/>
            <pc:sldMk cId="2218536291" sldId="2147479162"/>
            <ac:spMk id="66" creationId="{E0E98806-F5BF-1226-13B6-04106C82A1A9}"/>
          </ac:spMkLst>
        </pc:spChg>
        <pc:spChg chg="add del mod">
          <ac:chgData name="Koen Verbeeck" userId="24d0e79a7fd977da" providerId="LiveId" clId="{BA5CD2F8-66DA-43DE-8187-1C492E55A66A}" dt="2023-10-17T10:38:34.520" v="1249"/>
          <ac:spMkLst>
            <pc:docMk/>
            <pc:sldMk cId="2218536291" sldId="2147479162"/>
            <ac:spMk id="67" creationId="{6A1F4848-960F-83A8-E6F5-816BD86D83FF}"/>
          </ac:spMkLst>
        </pc:spChg>
        <pc:spChg chg="add del mod">
          <ac:chgData name="Koen Verbeeck" userId="24d0e79a7fd977da" providerId="LiveId" clId="{BA5CD2F8-66DA-43DE-8187-1C492E55A66A}" dt="2023-10-17T10:38:34.520" v="1249"/>
          <ac:spMkLst>
            <pc:docMk/>
            <pc:sldMk cId="2218536291" sldId="2147479162"/>
            <ac:spMk id="68" creationId="{6351B6D6-6FBD-D3F4-FDFC-6272CFD087CB}"/>
          </ac:spMkLst>
        </pc:spChg>
        <pc:spChg chg="add del mod">
          <ac:chgData name="Koen Verbeeck" userId="24d0e79a7fd977da" providerId="LiveId" clId="{BA5CD2F8-66DA-43DE-8187-1C492E55A66A}" dt="2023-10-17T10:38:34.520" v="1249"/>
          <ac:spMkLst>
            <pc:docMk/>
            <pc:sldMk cId="2218536291" sldId="2147479162"/>
            <ac:spMk id="69" creationId="{99ACD58E-0842-190F-9A2A-B40059A92B98}"/>
          </ac:spMkLst>
        </pc:spChg>
        <pc:spChg chg="mod">
          <ac:chgData name="Koen Verbeeck" userId="24d0e79a7fd977da" providerId="LiveId" clId="{BA5CD2F8-66DA-43DE-8187-1C492E55A66A}" dt="2023-10-17T10:38:33.019" v="1246"/>
          <ac:spMkLst>
            <pc:docMk/>
            <pc:sldMk cId="2218536291" sldId="2147479162"/>
            <ac:spMk id="71" creationId="{B5FDD5AB-C375-B033-2498-2578C6B27644}"/>
          </ac:spMkLst>
        </pc:spChg>
        <pc:spChg chg="mod">
          <ac:chgData name="Koen Verbeeck" userId="24d0e79a7fd977da" providerId="LiveId" clId="{BA5CD2F8-66DA-43DE-8187-1C492E55A66A}" dt="2023-10-17T10:38:33.019" v="1246"/>
          <ac:spMkLst>
            <pc:docMk/>
            <pc:sldMk cId="2218536291" sldId="2147479162"/>
            <ac:spMk id="72" creationId="{2D6972AF-46D3-A3B8-1317-0A713FAE4ED1}"/>
          </ac:spMkLst>
        </pc:spChg>
        <pc:spChg chg="mod">
          <ac:chgData name="Koen Verbeeck" userId="24d0e79a7fd977da" providerId="LiveId" clId="{BA5CD2F8-66DA-43DE-8187-1C492E55A66A}" dt="2023-10-17T10:38:33.019" v="1246"/>
          <ac:spMkLst>
            <pc:docMk/>
            <pc:sldMk cId="2218536291" sldId="2147479162"/>
            <ac:spMk id="73" creationId="{A3061983-4414-D91F-77D3-C3CC25BC4893}"/>
          </ac:spMkLst>
        </pc:spChg>
        <pc:spChg chg="add del mod">
          <ac:chgData name="Koen Verbeeck" userId="24d0e79a7fd977da" providerId="LiveId" clId="{BA5CD2F8-66DA-43DE-8187-1C492E55A66A}" dt="2023-10-17T10:38:34.520" v="1249"/>
          <ac:spMkLst>
            <pc:docMk/>
            <pc:sldMk cId="2218536291" sldId="2147479162"/>
            <ac:spMk id="74" creationId="{F94B8C84-4930-E3D8-5FF5-8A3CB6E09F1D}"/>
          </ac:spMkLst>
        </pc:spChg>
        <pc:spChg chg="add del mod">
          <ac:chgData name="Koen Verbeeck" userId="24d0e79a7fd977da" providerId="LiveId" clId="{BA5CD2F8-66DA-43DE-8187-1C492E55A66A}" dt="2023-10-17T10:38:34.520" v="1249"/>
          <ac:spMkLst>
            <pc:docMk/>
            <pc:sldMk cId="2218536291" sldId="2147479162"/>
            <ac:spMk id="75" creationId="{C3FDC0B4-8FC3-BED0-C28F-7EC95BE12695}"/>
          </ac:spMkLst>
        </pc:spChg>
        <pc:spChg chg="add mod">
          <ac:chgData name="Koen Verbeeck" userId="24d0e79a7fd977da" providerId="LiveId" clId="{BA5CD2F8-66DA-43DE-8187-1C492E55A66A}" dt="2023-10-17T10:38:34.545" v="1250"/>
          <ac:spMkLst>
            <pc:docMk/>
            <pc:sldMk cId="2218536291" sldId="2147479162"/>
            <ac:spMk id="76" creationId="{4754B43B-1544-4A8E-BB4B-74591B136E90}"/>
          </ac:spMkLst>
        </pc:spChg>
        <pc:spChg chg="mod">
          <ac:chgData name="Koen Verbeeck" userId="24d0e79a7fd977da" providerId="LiveId" clId="{BA5CD2F8-66DA-43DE-8187-1C492E55A66A}" dt="2023-10-17T10:38:34.545" v="1250"/>
          <ac:spMkLst>
            <pc:docMk/>
            <pc:sldMk cId="2218536291" sldId="2147479162"/>
            <ac:spMk id="78" creationId="{3FF276CE-F8F7-369B-372C-33D1229BD00D}"/>
          </ac:spMkLst>
        </pc:spChg>
        <pc:spChg chg="mod">
          <ac:chgData name="Koen Verbeeck" userId="24d0e79a7fd977da" providerId="LiveId" clId="{BA5CD2F8-66DA-43DE-8187-1C492E55A66A}" dt="2023-10-17T10:38:34.545" v="1250"/>
          <ac:spMkLst>
            <pc:docMk/>
            <pc:sldMk cId="2218536291" sldId="2147479162"/>
            <ac:spMk id="79" creationId="{07131B02-6F30-134F-0B1D-03E5CC9E93D9}"/>
          </ac:spMkLst>
        </pc:spChg>
        <pc:spChg chg="mod">
          <ac:chgData name="Koen Verbeeck" userId="24d0e79a7fd977da" providerId="LiveId" clId="{BA5CD2F8-66DA-43DE-8187-1C492E55A66A}" dt="2023-10-17T10:38:34.545" v="1250"/>
          <ac:spMkLst>
            <pc:docMk/>
            <pc:sldMk cId="2218536291" sldId="2147479162"/>
            <ac:spMk id="82" creationId="{A581A58B-DCA5-E10C-36F9-42A0DC349EF8}"/>
          </ac:spMkLst>
        </pc:spChg>
        <pc:spChg chg="mod">
          <ac:chgData name="Koen Verbeeck" userId="24d0e79a7fd977da" providerId="LiveId" clId="{BA5CD2F8-66DA-43DE-8187-1C492E55A66A}" dt="2023-10-17T10:38:34.545" v="1250"/>
          <ac:spMkLst>
            <pc:docMk/>
            <pc:sldMk cId="2218536291" sldId="2147479162"/>
            <ac:spMk id="84" creationId="{28863B32-403E-F6C8-8CA7-6F7819DFCB48}"/>
          </ac:spMkLst>
        </pc:spChg>
        <pc:spChg chg="mod">
          <ac:chgData name="Koen Verbeeck" userId="24d0e79a7fd977da" providerId="LiveId" clId="{BA5CD2F8-66DA-43DE-8187-1C492E55A66A}" dt="2023-10-17T10:38:34.545" v="1250"/>
          <ac:spMkLst>
            <pc:docMk/>
            <pc:sldMk cId="2218536291" sldId="2147479162"/>
            <ac:spMk id="85" creationId="{CEF5018B-A6FA-00CB-6624-8DE518A65F8D}"/>
          </ac:spMkLst>
        </pc:spChg>
        <pc:spChg chg="mod">
          <ac:chgData name="Koen Verbeeck" userId="24d0e79a7fd977da" providerId="LiveId" clId="{BA5CD2F8-66DA-43DE-8187-1C492E55A66A}" dt="2023-10-17T10:38:34.545" v="1250"/>
          <ac:spMkLst>
            <pc:docMk/>
            <pc:sldMk cId="2218536291" sldId="2147479162"/>
            <ac:spMk id="86" creationId="{A0013AC1-8E31-0A6D-3A9B-D9B174234384}"/>
          </ac:spMkLst>
        </pc:spChg>
        <pc:spChg chg="mod">
          <ac:chgData name="Koen Verbeeck" userId="24d0e79a7fd977da" providerId="LiveId" clId="{BA5CD2F8-66DA-43DE-8187-1C492E55A66A}" dt="2023-10-17T10:38:34.545" v="1250"/>
          <ac:spMkLst>
            <pc:docMk/>
            <pc:sldMk cId="2218536291" sldId="2147479162"/>
            <ac:spMk id="87" creationId="{D6A05794-9C1B-9431-439F-910222E0C30B}"/>
          </ac:spMkLst>
        </pc:spChg>
        <pc:spChg chg="mod">
          <ac:chgData name="Koen Verbeeck" userId="24d0e79a7fd977da" providerId="LiveId" clId="{BA5CD2F8-66DA-43DE-8187-1C492E55A66A}" dt="2023-10-17T10:38:34.545" v="1250"/>
          <ac:spMkLst>
            <pc:docMk/>
            <pc:sldMk cId="2218536291" sldId="2147479162"/>
            <ac:spMk id="89" creationId="{4C5A4DB5-D14E-468A-4A81-D8F8D2794F4F}"/>
          </ac:spMkLst>
        </pc:spChg>
        <pc:spChg chg="mod">
          <ac:chgData name="Koen Verbeeck" userId="24d0e79a7fd977da" providerId="LiveId" clId="{BA5CD2F8-66DA-43DE-8187-1C492E55A66A}" dt="2023-10-17T10:38:34.545" v="1250"/>
          <ac:spMkLst>
            <pc:docMk/>
            <pc:sldMk cId="2218536291" sldId="2147479162"/>
            <ac:spMk id="90" creationId="{E56312B6-2285-4708-9567-33765D840ED5}"/>
          </ac:spMkLst>
        </pc:spChg>
        <pc:spChg chg="mod">
          <ac:chgData name="Koen Verbeeck" userId="24d0e79a7fd977da" providerId="LiveId" clId="{BA5CD2F8-66DA-43DE-8187-1C492E55A66A}" dt="2023-10-17T10:38:34.545" v="1250"/>
          <ac:spMkLst>
            <pc:docMk/>
            <pc:sldMk cId="2218536291" sldId="2147479162"/>
            <ac:spMk id="91" creationId="{6B32AA64-64CD-3CFA-D794-535E2CE14AC5}"/>
          </ac:spMkLst>
        </pc:spChg>
        <pc:spChg chg="mod">
          <ac:chgData name="Koen Verbeeck" userId="24d0e79a7fd977da" providerId="LiveId" clId="{BA5CD2F8-66DA-43DE-8187-1C492E55A66A}" dt="2023-10-17T10:38:34.545" v="1250"/>
          <ac:spMkLst>
            <pc:docMk/>
            <pc:sldMk cId="2218536291" sldId="2147479162"/>
            <ac:spMk id="93" creationId="{939AB72E-F109-734F-DE82-595C8A49C456}"/>
          </ac:spMkLst>
        </pc:spChg>
        <pc:spChg chg="mod">
          <ac:chgData name="Koen Verbeeck" userId="24d0e79a7fd977da" providerId="LiveId" clId="{BA5CD2F8-66DA-43DE-8187-1C492E55A66A}" dt="2023-10-17T10:38:34.545" v="1250"/>
          <ac:spMkLst>
            <pc:docMk/>
            <pc:sldMk cId="2218536291" sldId="2147479162"/>
            <ac:spMk id="94" creationId="{986F304B-A1D0-3387-A75D-789CDE824CF2}"/>
          </ac:spMkLst>
        </pc:spChg>
        <pc:spChg chg="mod">
          <ac:chgData name="Koen Verbeeck" userId="24d0e79a7fd977da" providerId="LiveId" clId="{BA5CD2F8-66DA-43DE-8187-1C492E55A66A}" dt="2023-10-17T10:38:34.545" v="1250"/>
          <ac:spMkLst>
            <pc:docMk/>
            <pc:sldMk cId="2218536291" sldId="2147479162"/>
            <ac:spMk id="95" creationId="{F0117437-B7A4-A4EF-7322-2E16B54E958B}"/>
          </ac:spMkLst>
        </pc:spChg>
        <pc:spChg chg="mod">
          <ac:chgData name="Koen Verbeeck" userId="24d0e79a7fd977da" providerId="LiveId" clId="{BA5CD2F8-66DA-43DE-8187-1C492E55A66A}" dt="2023-10-17T10:38:34.545" v="1250"/>
          <ac:spMkLst>
            <pc:docMk/>
            <pc:sldMk cId="2218536291" sldId="2147479162"/>
            <ac:spMk id="96" creationId="{3871791A-83F1-3D4A-FA11-EE8C664A0789}"/>
          </ac:spMkLst>
        </pc:spChg>
        <pc:spChg chg="mod">
          <ac:chgData name="Koen Verbeeck" userId="24d0e79a7fd977da" providerId="LiveId" clId="{BA5CD2F8-66DA-43DE-8187-1C492E55A66A}" dt="2023-10-17T10:38:34.545" v="1250"/>
          <ac:spMkLst>
            <pc:docMk/>
            <pc:sldMk cId="2218536291" sldId="2147479162"/>
            <ac:spMk id="97" creationId="{D1579365-DC95-3890-A4E5-607028636A22}"/>
          </ac:spMkLst>
        </pc:spChg>
        <pc:spChg chg="mod">
          <ac:chgData name="Koen Verbeeck" userId="24d0e79a7fd977da" providerId="LiveId" clId="{BA5CD2F8-66DA-43DE-8187-1C492E55A66A}" dt="2023-10-17T10:38:34.545" v="1250"/>
          <ac:spMkLst>
            <pc:docMk/>
            <pc:sldMk cId="2218536291" sldId="2147479162"/>
            <ac:spMk id="98" creationId="{7DED1EE1-EF16-5D5D-35C6-687D0F073569}"/>
          </ac:spMkLst>
        </pc:spChg>
        <pc:spChg chg="add mod">
          <ac:chgData name="Koen Verbeeck" userId="24d0e79a7fd977da" providerId="LiveId" clId="{BA5CD2F8-66DA-43DE-8187-1C492E55A66A}" dt="2023-10-17T10:38:34.545" v="1250"/>
          <ac:spMkLst>
            <pc:docMk/>
            <pc:sldMk cId="2218536291" sldId="2147479162"/>
            <ac:spMk id="99" creationId="{E5206689-A59D-D2D8-80D6-C63A50EE95CD}"/>
          </ac:spMkLst>
        </pc:spChg>
        <pc:spChg chg="add mod">
          <ac:chgData name="Koen Verbeeck" userId="24d0e79a7fd977da" providerId="LiveId" clId="{BA5CD2F8-66DA-43DE-8187-1C492E55A66A}" dt="2023-10-17T10:38:34.545" v="1250"/>
          <ac:spMkLst>
            <pc:docMk/>
            <pc:sldMk cId="2218536291" sldId="2147479162"/>
            <ac:spMk id="100" creationId="{CEA5556A-58F6-E60F-94D3-9410AE845ECC}"/>
          </ac:spMkLst>
        </pc:spChg>
        <pc:spChg chg="add mod">
          <ac:chgData name="Koen Verbeeck" userId="24d0e79a7fd977da" providerId="LiveId" clId="{BA5CD2F8-66DA-43DE-8187-1C492E55A66A}" dt="2023-10-17T10:38:34.545" v="1250"/>
          <ac:spMkLst>
            <pc:docMk/>
            <pc:sldMk cId="2218536291" sldId="2147479162"/>
            <ac:spMk id="101" creationId="{60D64553-7D52-BDA6-4F37-A7E8392D90CA}"/>
          </ac:spMkLst>
        </pc:spChg>
        <pc:spChg chg="mod">
          <ac:chgData name="Koen Verbeeck" userId="24d0e79a7fd977da" providerId="LiveId" clId="{BA5CD2F8-66DA-43DE-8187-1C492E55A66A}" dt="2023-10-17T10:38:34.545" v="1250"/>
          <ac:spMkLst>
            <pc:docMk/>
            <pc:sldMk cId="2218536291" sldId="2147479162"/>
            <ac:spMk id="103" creationId="{94306DFD-79DC-9BDE-F87A-37389CE59107}"/>
          </ac:spMkLst>
        </pc:spChg>
        <pc:spChg chg="mod">
          <ac:chgData name="Koen Verbeeck" userId="24d0e79a7fd977da" providerId="LiveId" clId="{BA5CD2F8-66DA-43DE-8187-1C492E55A66A}" dt="2023-10-17T10:38:34.545" v="1250"/>
          <ac:spMkLst>
            <pc:docMk/>
            <pc:sldMk cId="2218536291" sldId="2147479162"/>
            <ac:spMk id="104" creationId="{6CD053B0-3188-3D64-D987-A59671207E19}"/>
          </ac:spMkLst>
        </pc:spChg>
        <pc:spChg chg="mod">
          <ac:chgData name="Koen Verbeeck" userId="24d0e79a7fd977da" providerId="LiveId" clId="{BA5CD2F8-66DA-43DE-8187-1C492E55A66A}" dt="2023-10-17T10:38:34.545" v="1250"/>
          <ac:spMkLst>
            <pc:docMk/>
            <pc:sldMk cId="2218536291" sldId="2147479162"/>
            <ac:spMk id="106" creationId="{C7DFE552-6A1B-DCB0-B04B-6FC1C4FEA7F3}"/>
          </ac:spMkLst>
        </pc:spChg>
        <pc:spChg chg="mod">
          <ac:chgData name="Koen Verbeeck" userId="24d0e79a7fd977da" providerId="LiveId" clId="{BA5CD2F8-66DA-43DE-8187-1C492E55A66A}" dt="2023-10-17T10:38:34.545" v="1250"/>
          <ac:spMkLst>
            <pc:docMk/>
            <pc:sldMk cId="2218536291" sldId="2147479162"/>
            <ac:spMk id="108" creationId="{CAB18D62-39F1-DDE3-37B0-0C3D2E450EED}"/>
          </ac:spMkLst>
        </pc:spChg>
        <pc:spChg chg="mod">
          <ac:chgData name="Koen Verbeeck" userId="24d0e79a7fd977da" providerId="LiveId" clId="{BA5CD2F8-66DA-43DE-8187-1C492E55A66A}" dt="2023-10-17T10:38:34.545" v="1250"/>
          <ac:spMkLst>
            <pc:docMk/>
            <pc:sldMk cId="2218536291" sldId="2147479162"/>
            <ac:spMk id="109" creationId="{8A6D74C7-C3AE-2620-2A39-16C1420DCCFB}"/>
          </ac:spMkLst>
        </pc:spChg>
        <pc:spChg chg="mod">
          <ac:chgData name="Koen Verbeeck" userId="24d0e79a7fd977da" providerId="LiveId" clId="{BA5CD2F8-66DA-43DE-8187-1C492E55A66A}" dt="2023-10-17T10:38:34.545" v="1250"/>
          <ac:spMkLst>
            <pc:docMk/>
            <pc:sldMk cId="2218536291" sldId="2147479162"/>
            <ac:spMk id="110" creationId="{E4A00E79-7349-32E9-2053-EF23B02238AD}"/>
          </ac:spMkLst>
        </pc:spChg>
        <pc:spChg chg="mod">
          <ac:chgData name="Koen Verbeeck" userId="24d0e79a7fd977da" providerId="LiveId" clId="{BA5CD2F8-66DA-43DE-8187-1C492E55A66A}" dt="2023-10-17T10:38:34.545" v="1250"/>
          <ac:spMkLst>
            <pc:docMk/>
            <pc:sldMk cId="2218536291" sldId="2147479162"/>
            <ac:spMk id="111" creationId="{670E77C6-7A95-6233-4C67-EEB42FB29276}"/>
          </ac:spMkLst>
        </pc:spChg>
        <pc:spChg chg="mod">
          <ac:chgData name="Koen Verbeeck" userId="24d0e79a7fd977da" providerId="LiveId" clId="{BA5CD2F8-66DA-43DE-8187-1C492E55A66A}" dt="2023-10-17T10:38:34.545" v="1250"/>
          <ac:spMkLst>
            <pc:docMk/>
            <pc:sldMk cId="2218536291" sldId="2147479162"/>
            <ac:spMk id="113" creationId="{4BF6166C-AE5B-12BF-0841-45B9E6DECEDE}"/>
          </ac:spMkLst>
        </pc:spChg>
        <pc:spChg chg="mod">
          <ac:chgData name="Koen Verbeeck" userId="24d0e79a7fd977da" providerId="LiveId" clId="{BA5CD2F8-66DA-43DE-8187-1C492E55A66A}" dt="2023-10-17T10:38:34.545" v="1250"/>
          <ac:spMkLst>
            <pc:docMk/>
            <pc:sldMk cId="2218536291" sldId="2147479162"/>
            <ac:spMk id="115" creationId="{1112D935-57A2-C1E0-C024-7E0E85214B5B}"/>
          </ac:spMkLst>
        </pc:spChg>
        <pc:spChg chg="mod">
          <ac:chgData name="Koen Verbeeck" userId="24d0e79a7fd977da" providerId="LiveId" clId="{BA5CD2F8-66DA-43DE-8187-1C492E55A66A}" dt="2023-10-17T10:38:34.545" v="1250"/>
          <ac:spMkLst>
            <pc:docMk/>
            <pc:sldMk cId="2218536291" sldId="2147479162"/>
            <ac:spMk id="116" creationId="{2522E8AA-F0AB-972E-6769-D38FA12B867E}"/>
          </ac:spMkLst>
        </pc:spChg>
        <pc:spChg chg="mod">
          <ac:chgData name="Koen Verbeeck" userId="24d0e79a7fd977da" providerId="LiveId" clId="{BA5CD2F8-66DA-43DE-8187-1C492E55A66A}" dt="2023-10-17T10:38:34.545" v="1250"/>
          <ac:spMkLst>
            <pc:docMk/>
            <pc:sldMk cId="2218536291" sldId="2147479162"/>
            <ac:spMk id="117" creationId="{E8DB2A40-11B3-DE94-E0EE-7CA193AF6BFB}"/>
          </ac:spMkLst>
        </pc:spChg>
        <pc:spChg chg="mod">
          <ac:chgData name="Koen Verbeeck" userId="24d0e79a7fd977da" providerId="LiveId" clId="{BA5CD2F8-66DA-43DE-8187-1C492E55A66A}" dt="2023-10-17T10:38:34.545" v="1250"/>
          <ac:spMkLst>
            <pc:docMk/>
            <pc:sldMk cId="2218536291" sldId="2147479162"/>
            <ac:spMk id="118" creationId="{3357A92E-AFA9-837B-DA88-6EB5C646091A}"/>
          </ac:spMkLst>
        </pc:spChg>
        <pc:spChg chg="mod">
          <ac:chgData name="Koen Verbeeck" userId="24d0e79a7fd977da" providerId="LiveId" clId="{BA5CD2F8-66DA-43DE-8187-1C492E55A66A}" dt="2023-10-17T10:38:34.545" v="1250"/>
          <ac:spMkLst>
            <pc:docMk/>
            <pc:sldMk cId="2218536291" sldId="2147479162"/>
            <ac:spMk id="119" creationId="{C2991CB4-6049-7F73-B294-F94126526D89}"/>
          </ac:spMkLst>
        </pc:spChg>
        <pc:spChg chg="mod">
          <ac:chgData name="Koen Verbeeck" userId="24d0e79a7fd977da" providerId="LiveId" clId="{BA5CD2F8-66DA-43DE-8187-1C492E55A66A}" dt="2023-10-17T10:38:34.545" v="1250"/>
          <ac:spMkLst>
            <pc:docMk/>
            <pc:sldMk cId="2218536291" sldId="2147479162"/>
            <ac:spMk id="120" creationId="{4B14ABA5-92F3-961B-62AD-6077973F2AD5}"/>
          </ac:spMkLst>
        </pc:spChg>
        <pc:spChg chg="mod">
          <ac:chgData name="Koen Verbeeck" userId="24d0e79a7fd977da" providerId="LiveId" clId="{BA5CD2F8-66DA-43DE-8187-1C492E55A66A}" dt="2023-10-17T10:38:34.545" v="1250"/>
          <ac:spMkLst>
            <pc:docMk/>
            <pc:sldMk cId="2218536291" sldId="2147479162"/>
            <ac:spMk id="121" creationId="{05A6C521-0EE4-DE64-F6B2-C047447A72D4}"/>
          </ac:spMkLst>
        </pc:spChg>
        <pc:spChg chg="mod">
          <ac:chgData name="Koen Verbeeck" userId="24d0e79a7fd977da" providerId="LiveId" clId="{BA5CD2F8-66DA-43DE-8187-1C492E55A66A}" dt="2023-10-17T10:38:34.545" v="1250"/>
          <ac:spMkLst>
            <pc:docMk/>
            <pc:sldMk cId="2218536291" sldId="2147479162"/>
            <ac:spMk id="122" creationId="{DC383D81-4ADD-592D-555D-FB9428883B33}"/>
          </ac:spMkLst>
        </pc:spChg>
        <pc:spChg chg="mod">
          <ac:chgData name="Koen Verbeeck" userId="24d0e79a7fd977da" providerId="LiveId" clId="{BA5CD2F8-66DA-43DE-8187-1C492E55A66A}" dt="2023-10-17T10:38:34.545" v="1250"/>
          <ac:spMkLst>
            <pc:docMk/>
            <pc:sldMk cId="2218536291" sldId="2147479162"/>
            <ac:spMk id="124" creationId="{2D432D77-1F55-EE8D-1F79-EA8BAA97C0CD}"/>
          </ac:spMkLst>
        </pc:spChg>
        <pc:spChg chg="mod">
          <ac:chgData name="Koen Verbeeck" userId="24d0e79a7fd977da" providerId="LiveId" clId="{BA5CD2F8-66DA-43DE-8187-1C492E55A66A}" dt="2023-10-17T10:38:34.545" v="1250"/>
          <ac:spMkLst>
            <pc:docMk/>
            <pc:sldMk cId="2218536291" sldId="2147479162"/>
            <ac:spMk id="125" creationId="{143E0875-8139-769D-6BA1-DDE876F76529}"/>
          </ac:spMkLst>
        </pc:spChg>
        <pc:spChg chg="mod">
          <ac:chgData name="Koen Verbeeck" userId="24d0e79a7fd977da" providerId="LiveId" clId="{BA5CD2F8-66DA-43DE-8187-1C492E55A66A}" dt="2023-10-17T10:38:34.545" v="1250"/>
          <ac:spMkLst>
            <pc:docMk/>
            <pc:sldMk cId="2218536291" sldId="2147479162"/>
            <ac:spMk id="126" creationId="{08263FC3-42D2-EB02-60AC-5E14912BD4E3}"/>
          </ac:spMkLst>
        </pc:spChg>
        <pc:spChg chg="add mod">
          <ac:chgData name="Koen Verbeeck" userId="24d0e79a7fd977da" providerId="LiveId" clId="{BA5CD2F8-66DA-43DE-8187-1C492E55A66A}" dt="2023-10-17T10:38:34.545" v="1250"/>
          <ac:spMkLst>
            <pc:docMk/>
            <pc:sldMk cId="2218536291" sldId="2147479162"/>
            <ac:spMk id="127" creationId="{FBD90EE0-E12A-F273-A714-BC20E9ABFD3B}"/>
          </ac:spMkLst>
        </pc:spChg>
        <pc:spChg chg="add mod">
          <ac:chgData name="Koen Verbeeck" userId="24d0e79a7fd977da" providerId="LiveId" clId="{BA5CD2F8-66DA-43DE-8187-1C492E55A66A}" dt="2023-10-17T10:38:34.545" v="1250"/>
          <ac:spMkLst>
            <pc:docMk/>
            <pc:sldMk cId="2218536291" sldId="2147479162"/>
            <ac:spMk id="128" creationId="{4A1B7664-AA3E-7F49-CF11-BE05FA0316E7}"/>
          </ac:spMkLst>
        </pc:spChg>
        <pc:spChg chg="add mod">
          <ac:chgData name="Koen Verbeeck" userId="24d0e79a7fd977da" providerId="LiveId" clId="{BA5CD2F8-66DA-43DE-8187-1C492E55A66A}" dt="2023-10-17T10:38:34.545" v="1250"/>
          <ac:spMkLst>
            <pc:docMk/>
            <pc:sldMk cId="2218536291" sldId="2147479162"/>
            <ac:spMk id="129" creationId="{6B471767-9F7F-3E26-AFA9-36BE4C24C3C9}"/>
          </ac:spMkLst>
        </pc:spChg>
        <pc:spChg chg="mod">
          <ac:chgData name="Koen Verbeeck" userId="24d0e79a7fd977da" providerId="LiveId" clId="{BA5CD2F8-66DA-43DE-8187-1C492E55A66A}" dt="2023-10-17T10:38:34.545" v="1250"/>
          <ac:spMkLst>
            <pc:docMk/>
            <pc:sldMk cId="2218536291" sldId="2147479162"/>
            <ac:spMk id="131" creationId="{14302574-7CAE-8DC2-9D81-BCF6AF05D483}"/>
          </ac:spMkLst>
        </pc:spChg>
        <pc:spChg chg="mod">
          <ac:chgData name="Koen Verbeeck" userId="24d0e79a7fd977da" providerId="LiveId" clId="{BA5CD2F8-66DA-43DE-8187-1C492E55A66A}" dt="2023-10-17T10:38:34.545" v="1250"/>
          <ac:spMkLst>
            <pc:docMk/>
            <pc:sldMk cId="2218536291" sldId="2147479162"/>
            <ac:spMk id="133" creationId="{E8BDCDD7-6864-B02F-7CF8-E627D804343B}"/>
          </ac:spMkLst>
        </pc:spChg>
        <pc:spChg chg="mod">
          <ac:chgData name="Koen Verbeeck" userId="24d0e79a7fd977da" providerId="LiveId" clId="{BA5CD2F8-66DA-43DE-8187-1C492E55A66A}" dt="2023-10-17T10:38:34.545" v="1250"/>
          <ac:spMkLst>
            <pc:docMk/>
            <pc:sldMk cId="2218536291" sldId="2147479162"/>
            <ac:spMk id="134" creationId="{05702084-07E1-7BEF-44B2-410D13299E25}"/>
          </ac:spMkLst>
        </pc:spChg>
        <pc:spChg chg="mod">
          <ac:chgData name="Koen Verbeeck" userId="24d0e79a7fd977da" providerId="LiveId" clId="{BA5CD2F8-66DA-43DE-8187-1C492E55A66A}" dt="2023-10-17T10:38:34.545" v="1250"/>
          <ac:spMkLst>
            <pc:docMk/>
            <pc:sldMk cId="2218536291" sldId="2147479162"/>
            <ac:spMk id="135" creationId="{006D0E94-CD33-A5D3-9B38-3FCF733B595F}"/>
          </ac:spMkLst>
        </pc:spChg>
        <pc:spChg chg="add mod">
          <ac:chgData name="Koen Verbeeck" userId="24d0e79a7fd977da" providerId="LiveId" clId="{BA5CD2F8-66DA-43DE-8187-1C492E55A66A}" dt="2023-10-17T10:38:34.545" v="1250"/>
          <ac:spMkLst>
            <pc:docMk/>
            <pc:sldMk cId="2218536291" sldId="2147479162"/>
            <ac:spMk id="136" creationId="{8F20F652-36DB-31F5-2ADB-C59BE8BD6FCC}"/>
          </ac:spMkLst>
        </pc:spChg>
        <pc:spChg chg="add mod">
          <ac:chgData name="Koen Verbeeck" userId="24d0e79a7fd977da" providerId="LiveId" clId="{BA5CD2F8-66DA-43DE-8187-1C492E55A66A}" dt="2023-10-17T10:38:34.545" v="1250"/>
          <ac:spMkLst>
            <pc:docMk/>
            <pc:sldMk cId="2218536291" sldId="2147479162"/>
            <ac:spMk id="138" creationId="{7244B4C1-6FC4-F902-BDF4-BB9C80BD53B6}"/>
          </ac:spMkLst>
        </pc:spChg>
        <pc:spChg chg="add mod">
          <ac:chgData name="Koen Verbeeck" userId="24d0e79a7fd977da" providerId="LiveId" clId="{BA5CD2F8-66DA-43DE-8187-1C492E55A66A}" dt="2023-10-17T10:38:34.545" v="1250"/>
          <ac:spMkLst>
            <pc:docMk/>
            <pc:sldMk cId="2218536291" sldId="2147479162"/>
            <ac:spMk id="139" creationId="{8327F99E-FAB0-ACEA-91F4-35AFDECFD56E}"/>
          </ac:spMkLst>
        </pc:spChg>
        <pc:spChg chg="add mod">
          <ac:chgData name="Koen Verbeeck" userId="24d0e79a7fd977da" providerId="LiveId" clId="{BA5CD2F8-66DA-43DE-8187-1C492E55A66A}" dt="2023-10-17T10:38:34.545" v="1250"/>
          <ac:spMkLst>
            <pc:docMk/>
            <pc:sldMk cId="2218536291" sldId="2147479162"/>
            <ac:spMk id="140" creationId="{86DE406D-9FB0-F796-653C-9FC2481C70BA}"/>
          </ac:spMkLst>
        </pc:spChg>
        <pc:spChg chg="add mod">
          <ac:chgData name="Koen Verbeeck" userId="24d0e79a7fd977da" providerId="LiveId" clId="{BA5CD2F8-66DA-43DE-8187-1C492E55A66A}" dt="2023-10-17T10:38:34.545" v="1250"/>
          <ac:spMkLst>
            <pc:docMk/>
            <pc:sldMk cId="2218536291" sldId="2147479162"/>
            <ac:spMk id="141" creationId="{014EED52-236E-FF46-5EB1-5AED1536E397}"/>
          </ac:spMkLst>
        </pc:spChg>
        <pc:spChg chg="mod">
          <ac:chgData name="Koen Verbeeck" userId="24d0e79a7fd977da" providerId="LiveId" clId="{BA5CD2F8-66DA-43DE-8187-1C492E55A66A}" dt="2023-10-17T10:38:34.545" v="1250"/>
          <ac:spMkLst>
            <pc:docMk/>
            <pc:sldMk cId="2218536291" sldId="2147479162"/>
            <ac:spMk id="143" creationId="{7ADF891D-DAE9-6895-F4C9-F541B7F4517F}"/>
          </ac:spMkLst>
        </pc:spChg>
        <pc:spChg chg="mod">
          <ac:chgData name="Koen Verbeeck" userId="24d0e79a7fd977da" providerId="LiveId" clId="{BA5CD2F8-66DA-43DE-8187-1C492E55A66A}" dt="2023-10-17T10:38:34.545" v="1250"/>
          <ac:spMkLst>
            <pc:docMk/>
            <pc:sldMk cId="2218536291" sldId="2147479162"/>
            <ac:spMk id="144" creationId="{1776C668-09F7-F004-C2CD-15682EDB220C}"/>
          </ac:spMkLst>
        </pc:spChg>
        <pc:spChg chg="mod">
          <ac:chgData name="Koen Verbeeck" userId="24d0e79a7fd977da" providerId="LiveId" clId="{BA5CD2F8-66DA-43DE-8187-1C492E55A66A}" dt="2023-10-17T10:38:34.545" v="1250"/>
          <ac:spMkLst>
            <pc:docMk/>
            <pc:sldMk cId="2218536291" sldId="2147479162"/>
            <ac:spMk id="145" creationId="{F584F974-6BF3-1286-8CEA-BEC7B46B9C21}"/>
          </ac:spMkLst>
        </pc:spChg>
        <pc:spChg chg="add mod">
          <ac:chgData name="Koen Verbeeck" userId="24d0e79a7fd977da" providerId="LiveId" clId="{BA5CD2F8-66DA-43DE-8187-1C492E55A66A}" dt="2023-10-17T10:38:34.545" v="1250"/>
          <ac:spMkLst>
            <pc:docMk/>
            <pc:sldMk cId="2218536291" sldId="2147479162"/>
            <ac:spMk id="146" creationId="{6293DEB4-D1E4-11F2-F32D-F46EC3BE8C31}"/>
          </ac:spMkLst>
        </pc:spChg>
        <pc:spChg chg="add mod">
          <ac:chgData name="Koen Verbeeck" userId="24d0e79a7fd977da" providerId="LiveId" clId="{BA5CD2F8-66DA-43DE-8187-1C492E55A66A}" dt="2023-10-17T10:38:34.545" v="1250"/>
          <ac:spMkLst>
            <pc:docMk/>
            <pc:sldMk cId="2218536291" sldId="2147479162"/>
            <ac:spMk id="147" creationId="{6C58393E-C9A1-721C-1E64-429E6BD6666C}"/>
          </ac:spMkLst>
        </pc:spChg>
        <pc:grpChg chg="add del mod">
          <ac:chgData name="Koen Verbeeck" userId="24d0e79a7fd977da" providerId="LiveId" clId="{BA5CD2F8-66DA-43DE-8187-1C492E55A66A}" dt="2023-10-17T10:38:34.520" v="1249"/>
          <ac:grpSpMkLst>
            <pc:docMk/>
            <pc:sldMk cId="2218536291" sldId="2147479162"/>
            <ac:grpSpMk id="5" creationId="{24525E68-0E02-B7D2-32BF-0656D50BD5AF}"/>
          </ac:grpSpMkLst>
        </pc:grpChg>
        <pc:grpChg chg="mod">
          <ac:chgData name="Koen Verbeeck" userId="24d0e79a7fd977da" providerId="LiveId" clId="{BA5CD2F8-66DA-43DE-8187-1C492E55A66A}" dt="2023-10-17T10:38:33.019" v="1246"/>
          <ac:grpSpMkLst>
            <pc:docMk/>
            <pc:sldMk cId="2218536291" sldId="2147479162"/>
            <ac:grpSpMk id="8" creationId="{E590CF54-11A2-05D3-6396-FB9AD7988F96}"/>
          </ac:grpSpMkLst>
        </pc:grpChg>
        <pc:grpChg chg="mod">
          <ac:chgData name="Koen Verbeeck" userId="24d0e79a7fd977da" providerId="LiveId" clId="{BA5CD2F8-66DA-43DE-8187-1C492E55A66A}" dt="2023-10-17T10:38:33.019" v="1246"/>
          <ac:grpSpMkLst>
            <pc:docMk/>
            <pc:sldMk cId="2218536291" sldId="2147479162"/>
            <ac:grpSpMk id="9" creationId="{C0E10FA2-6318-C3F3-B0B1-DB23BF6C7F99}"/>
          </ac:grpSpMkLst>
        </pc:grpChg>
        <pc:grpChg chg="mod">
          <ac:chgData name="Koen Verbeeck" userId="24d0e79a7fd977da" providerId="LiveId" clId="{BA5CD2F8-66DA-43DE-8187-1C492E55A66A}" dt="2023-10-17T10:38:33.019" v="1246"/>
          <ac:grpSpMkLst>
            <pc:docMk/>
            <pc:sldMk cId="2218536291" sldId="2147479162"/>
            <ac:grpSpMk id="20" creationId="{4815F0BB-EB59-F257-D4C2-7A2E956BBCDA}"/>
          </ac:grpSpMkLst>
        </pc:grpChg>
        <pc:grpChg chg="add del mod">
          <ac:chgData name="Koen Verbeeck" userId="24d0e79a7fd977da" providerId="LiveId" clId="{BA5CD2F8-66DA-43DE-8187-1C492E55A66A}" dt="2023-10-17T10:38:34.520" v="1249"/>
          <ac:grpSpMkLst>
            <pc:docMk/>
            <pc:sldMk cId="2218536291" sldId="2147479162"/>
            <ac:grpSpMk id="30" creationId="{9BFCF699-5CE4-91BD-D978-3F4F97C3E8E6}"/>
          </ac:grpSpMkLst>
        </pc:grpChg>
        <pc:grpChg chg="mod">
          <ac:chgData name="Koen Verbeeck" userId="24d0e79a7fd977da" providerId="LiveId" clId="{BA5CD2F8-66DA-43DE-8187-1C492E55A66A}" dt="2023-10-17T10:38:33.019" v="1246"/>
          <ac:grpSpMkLst>
            <pc:docMk/>
            <pc:sldMk cId="2218536291" sldId="2147479162"/>
            <ac:grpSpMk id="33" creationId="{203663B5-0C8C-58BD-2E3E-03A5B8FF725F}"/>
          </ac:grpSpMkLst>
        </pc:grpChg>
        <pc:grpChg chg="mod">
          <ac:chgData name="Koen Verbeeck" userId="24d0e79a7fd977da" providerId="LiveId" clId="{BA5CD2F8-66DA-43DE-8187-1C492E55A66A}" dt="2023-10-17T10:38:33.019" v="1246"/>
          <ac:grpSpMkLst>
            <pc:docMk/>
            <pc:sldMk cId="2218536291" sldId="2147479162"/>
            <ac:grpSpMk id="40" creationId="{10263917-2015-CB95-F999-B343C933C710}"/>
          </ac:grpSpMkLst>
        </pc:grpChg>
        <pc:grpChg chg="mod">
          <ac:chgData name="Koen Verbeeck" userId="24d0e79a7fd977da" providerId="LiveId" clId="{BA5CD2F8-66DA-43DE-8187-1C492E55A66A}" dt="2023-10-17T10:38:33.019" v="1246"/>
          <ac:grpSpMkLst>
            <pc:docMk/>
            <pc:sldMk cId="2218536291" sldId="2147479162"/>
            <ac:grpSpMk id="42" creationId="{4B371A98-5EAC-C48F-5167-19433B2FBF94}"/>
          </ac:grpSpMkLst>
        </pc:grpChg>
        <pc:grpChg chg="mod">
          <ac:chgData name="Koen Verbeeck" userId="24d0e79a7fd977da" providerId="LiveId" clId="{BA5CD2F8-66DA-43DE-8187-1C492E55A66A}" dt="2023-10-17T10:38:33.019" v="1246"/>
          <ac:grpSpMkLst>
            <pc:docMk/>
            <pc:sldMk cId="2218536291" sldId="2147479162"/>
            <ac:grpSpMk id="51" creationId="{9D6249E1-58B4-E304-DEF3-F464E19F316D}"/>
          </ac:grpSpMkLst>
        </pc:grpChg>
        <pc:grpChg chg="add del mod">
          <ac:chgData name="Koen Verbeeck" userId="24d0e79a7fd977da" providerId="LiveId" clId="{BA5CD2F8-66DA-43DE-8187-1C492E55A66A}" dt="2023-10-17T10:38:34.520" v="1249"/>
          <ac:grpSpMkLst>
            <pc:docMk/>
            <pc:sldMk cId="2218536291" sldId="2147479162"/>
            <ac:grpSpMk id="58" creationId="{8A7BF2C8-A599-B55F-867D-221C2DA208A1}"/>
          </ac:grpSpMkLst>
        </pc:grpChg>
        <pc:grpChg chg="mod">
          <ac:chgData name="Koen Verbeeck" userId="24d0e79a7fd977da" providerId="LiveId" clId="{BA5CD2F8-66DA-43DE-8187-1C492E55A66A}" dt="2023-10-17T10:38:33.019" v="1246"/>
          <ac:grpSpMkLst>
            <pc:docMk/>
            <pc:sldMk cId="2218536291" sldId="2147479162"/>
            <ac:grpSpMk id="60" creationId="{27ED6009-D285-4474-F679-A16AC7115C36}"/>
          </ac:grpSpMkLst>
        </pc:grpChg>
        <pc:grpChg chg="add del mod">
          <ac:chgData name="Koen Verbeeck" userId="24d0e79a7fd977da" providerId="LiveId" clId="{BA5CD2F8-66DA-43DE-8187-1C492E55A66A}" dt="2023-10-17T10:38:34.520" v="1249"/>
          <ac:grpSpMkLst>
            <pc:docMk/>
            <pc:sldMk cId="2218536291" sldId="2147479162"/>
            <ac:grpSpMk id="70" creationId="{B8A14BFF-513F-CD2A-14F7-41B82A434C45}"/>
          </ac:grpSpMkLst>
        </pc:grpChg>
        <pc:grpChg chg="add mod">
          <ac:chgData name="Koen Verbeeck" userId="24d0e79a7fd977da" providerId="LiveId" clId="{BA5CD2F8-66DA-43DE-8187-1C492E55A66A}" dt="2023-10-17T10:38:34.545" v="1250"/>
          <ac:grpSpMkLst>
            <pc:docMk/>
            <pc:sldMk cId="2218536291" sldId="2147479162"/>
            <ac:grpSpMk id="77" creationId="{B2387CD4-BC9C-8C61-35F8-6EB5F5F70BF8}"/>
          </ac:grpSpMkLst>
        </pc:grpChg>
        <pc:grpChg chg="mod">
          <ac:chgData name="Koen Verbeeck" userId="24d0e79a7fd977da" providerId="LiveId" clId="{BA5CD2F8-66DA-43DE-8187-1C492E55A66A}" dt="2023-10-17T10:38:34.545" v="1250"/>
          <ac:grpSpMkLst>
            <pc:docMk/>
            <pc:sldMk cId="2218536291" sldId="2147479162"/>
            <ac:grpSpMk id="80" creationId="{EDBF4ACB-B37F-BB4C-9271-6B311A8DFB72}"/>
          </ac:grpSpMkLst>
        </pc:grpChg>
        <pc:grpChg chg="mod">
          <ac:chgData name="Koen Verbeeck" userId="24d0e79a7fd977da" providerId="LiveId" clId="{BA5CD2F8-66DA-43DE-8187-1C492E55A66A}" dt="2023-10-17T10:38:34.545" v="1250"/>
          <ac:grpSpMkLst>
            <pc:docMk/>
            <pc:sldMk cId="2218536291" sldId="2147479162"/>
            <ac:grpSpMk id="81" creationId="{0F0F1A0A-2C88-2B26-88CF-47F7FA4F877C}"/>
          </ac:grpSpMkLst>
        </pc:grpChg>
        <pc:grpChg chg="mod">
          <ac:chgData name="Koen Verbeeck" userId="24d0e79a7fd977da" providerId="LiveId" clId="{BA5CD2F8-66DA-43DE-8187-1C492E55A66A}" dt="2023-10-17T10:38:34.545" v="1250"/>
          <ac:grpSpMkLst>
            <pc:docMk/>
            <pc:sldMk cId="2218536291" sldId="2147479162"/>
            <ac:grpSpMk id="92" creationId="{459D069C-29A6-9FD7-4C08-918E08F25B1C}"/>
          </ac:grpSpMkLst>
        </pc:grpChg>
        <pc:grpChg chg="add mod">
          <ac:chgData name="Koen Verbeeck" userId="24d0e79a7fd977da" providerId="LiveId" clId="{BA5CD2F8-66DA-43DE-8187-1C492E55A66A}" dt="2023-10-17T10:38:34.545" v="1250"/>
          <ac:grpSpMkLst>
            <pc:docMk/>
            <pc:sldMk cId="2218536291" sldId="2147479162"/>
            <ac:grpSpMk id="102" creationId="{C3246FA3-D4B9-6917-4C7D-4585237C6845}"/>
          </ac:grpSpMkLst>
        </pc:grpChg>
        <pc:grpChg chg="mod">
          <ac:chgData name="Koen Verbeeck" userId="24d0e79a7fd977da" providerId="LiveId" clId="{BA5CD2F8-66DA-43DE-8187-1C492E55A66A}" dt="2023-10-17T10:38:34.545" v="1250"/>
          <ac:grpSpMkLst>
            <pc:docMk/>
            <pc:sldMk cId="2218536291" sldId="2147479162"/>
            <ac:grpSpMk id="105" creationId="{C6FC8D3F-B42A-B339-E3A0-72CDF7AC91AA}"/>
          </ac:grpSpMkLst>
        </pc:grpChg>
        <pc:grpChg chg="mod">
          <ac:chgData name="Koen Verbeeck" userId="24d0e79a7fd977da" providerId="LiveId" clId="{BA5CD2F8-66DA-43DE-8187-1C492E55A66A}" dt="2023-10-17T10:38:34.545" v="1250"/>
          <ac:grpSpMkLst>
            <pc:docMk/>
            <pc:sldMk cId="2218536291" sldId="2147479162"/>
            <ac:grpSpMk id="112" creationId="{E12BAA3C-E830-44DA-1E2A-7239A7A022F1}"/>
          </ac:grpSpMkLst>
        </pc:grpChg>
        <pc:grpChg chg="mod">
          <ac:chgData name="Koen Verbeeck" userId="24d0e79a7fd977da" providerId="LiveId" clId="{BA5CD2F8-66DA-43DE-8187-1C492E55A66A}" dt="2023-10-17T10:38:34.545" v="1250"/>
          <ac:grpSpMkLst>
            <pc:docMk/>
            <pc:sldMk cId="2218536291" sldId="2147479162"/>
            <ac:grpSpMk id="114" creationId="{1F6A223F-D516-02BE-BFE9-5ABCD346E780}"/>
          </ac:grpSpMkLst>
        </pc:grpChg>
        <pc:grpChg chg="mod">
          <ac:chgData name="Koen Verbeeck" userId="24d0e79a7fd977da" providerId="LiveId" clId="{BA5CD2F8-66DA-43DE-8187-1C492E55A66A}" dt="2023-10-17T10:38:34.545" v="1250"/>
          <ac:grpSpMkLst>
            <pc:docMk/>
            <pc:sldMk cId="2218536291" sldId="2147479162"/>
            <ac:grpSpMk id="123" creationId="{5368E877-2D7E-4611-E8D5-9E6C64FE4CB5}"/>
          </ac:grpSpMkLst>
        </pc:grpChg>
        <pc:grpChg chg="add mod">
          <ac:chgData name="Koen Verbeeck" userId="24d0e79a7fd977da" providerId="LiveId" clId="{BA5CD2F8-66DA-43DE-8187-1C492E55A66A}" dt="2023-10-17T10:38:34.545" v="1250"/>
          <ac:grpSpMkLst>
            <pc:docMk/>
            <pc:sldMk cId="2218536291" sldId="2147479162"/>
            <ac:grpSpMk id="130" creationId="{4DCED5CC-66EC-2A09-6100-AFEC234A25F9}"/>
          </ac:grpSpMkLst>
        </pc:grpChg>
        <pc:grpChg chg="mod">
          <ac:chgData name="Koen Verbeeck" userId="24d0e79a7fd977da" providerId="LiveId" clId="{BA5CD2F8-66DA-43DE-8187-1C492E55A66A}" dt="2023-10-17T10:38:34.545" v="1250"/>
          <ac:grpSpMkLst>
            <pc:docMk/>
            <pc:sldMk cId="2218536291" sldId="2147479162"/>
            <ac:grpSpMk id="132" creationId="{A4B86447-1B2E-C3C1-BA5E-B9E8E3427088}"/>
          </ac:grpSpMkLst>
        </pc:grpChg>
        <pc:grpChg chg="add mod">
          <ac:chgData name="Koen Verbeeck" userId="24d0e79a7fd977da" providerId="LiveId" clId="{BA5CD2F8-66DA-43DE-8187-1C492E55A66A}" dt="2023-10-17T10:38:34.545" v="1250"/>
          <ac:grpSpMkLst>
            <pc:docMk/>
            <pc:sldMk cId="2218536291" sldId="2147479162"/>
            <ac:grpSpMk id="142" creationId="{D10513FB-DB2B-4B82-986C-F71930927B3B}"/>
          </ac:grpSpMkLst>
        </pc:grpChg>
        <pc:cxnChg chg="mod">
          <ac:chgData name="Koen Verbeeck" userId="24d0e79a7fd977da" providerId="LiveId" clId="{BA5CD2F8-66DA-43DE-8187-1C492E55A66A}" dt="2023-10-17T10:38:33.019" v="1246"/>
          <ac:cxnSpMkLst>
            <pc:docMk/>
            <pc:sldMk cId="2218536291" sldId="2147479162"/>
            <ac:cxnSpMk id="11" creationId="{715D157C-D1D6-3BFC-5BEE-BB1A5F6800DF}"/>
          </ac:cxnSpMkLst>
        </pc:cxnChg>
        <pc:cxnChg chg="mod">
          <ac:chgData name="Koen Verbeeck" userId="24d0e79a7fd977da" providerId="LiveId" clId="{BA5CD2F8-66DA-43DE-8187-1C492E55A66A}" dt="2023-10-17T10:38:33.019" v="1246"/>
          <ac:cxnSpMkLst>
            <pc:docMk/>
            <pc:sldMk cId="2218536291" sldId="2147479162"/>
            <ac:cxnSpMk id="16" creationId="{36FAB440-8D98-66B3-5AFC-A2A59760F9A2}"/>
          </ac:cxnSpMkLst>
        </pc:cxnChg>
        <pc:cxnChg chg="mod">
          <ac:chgData name="Koen Verbeeck" userId="24d0e79a7fd977da" providerId="LiveId" clId="{BA5CD2F8-66DA-43DE-8187-1C492E55A66A}" dt="2023-10-17T10:38:33.019" v="1246"/>
          <ac:cxnSpMkLst>
            <pc:docMk/>
            <pc:sldMk cId="2218536291" sldId="2147479162"/>
            <ac:cxnSpMk id="35" creationId="{B1640BE8-1BDD-1D4C-AAD9-22E99DA00F91}"/>
          </ac:cxnSpMkLst>
        </pc:cxnChg>
        <pc:cxnChg chg="add del mod">
          <ac:chgData name="Koen Verbeeck" userId="24d0e79a7fd977da" providerId="LiveId" clId="{BA5CD2F8-66DA-43DE-8187-1C492E55A66A}" dt="2023-10-17T10:38:34.520" v="1249"/>
          <ac:cxnSpMkLst>
            <pc:docMk/>
            <pc:sldMk cId="2218536291" sldId="2147479162"/>
            <ac:cxnSpMk id="65" creationId="{CDA35241-A249-E9EB-CC38-6579815C8BE9}"/>
          </ac:cxnSpMkLst>
        </pc:cxnChg>
        <pc:cxnChg chg="mod">
          <ac:chgData name="Koen Verbeeck" userId="24d0e79a7fd977da" providerId="LiveId" clId="{BA5CD2F8-66DA-43DE-8187-1C492E55A66A}" dt="2023-10-17T10:38:34.545" v="1250"/>
          <ac:cxnSpMkLst>
            <pc:docMk/>
            <pc:sldMk cId="2218536291" sldId="2147479162"/>
            <ac:cxnSpMk id="83" creationId="{6F0F4C3E-4572-8DE1-B667-13E0686091E5}"/>
          </ac:cxnSpMkLst>
        </pc:cxnChg>
        <pc:cxnChg chg="mod">
          <ac:chgData name="Koen Verbeeck" userId="24d0e79a7fd977da" providerId="LiveId" clId="{BA5CD2F8-66DA-43DE-8187-1C492E55A66A}" dt="2023-10-17T10:38:34.545" v="1250"/>
          <ac:cxnSpMkLst>
            <pc:docMk/>
            <pc:sldMk cId="2218536291" sldId="2147479162"/>
            <ac:cxnSpMk id="88" creationId="{81AEFFB5-13CF-F081-3FF6-40CAFB467656}"/>
          </ac:cxnSpMkLst>
        </pc:cxnChg>
        <pc:cxnChg chg="mod">
          <ac:chgData name="Koen Verbeeck" userId="24d0e79a7fd977da" providerId="LiveId" clId="{BA5CD2F8-66DA-43DE-8187-1C492E55A66A}" dt="2023-10-17T10:38:34.545" v="1250"/>
          <ac:cxnSpMkLst>
            <pc:docMk/>
            <pc:sldMk cId="2218536291" sldId="2147479162"/>
            <ac:cxnSpMk id="107" creationId="{378C9D79-0734-7D66-A609-2549D30EB6A8}"/>
          </ac:cxnSpMkLst>
        </pc:cxnChg>
        <pc:cxnChg chg="add mod">
          <ac:chgData name="Koen Verbeeck" userId="24d0e79a7fd977da" providerId="LiveId" clId="{BA5CD2F8-66DA-43DE-8187-1C492E55A66A}" dt="2023-10-17T10:38:34.545" v="1250"/>
          <ac:cxnSpMkLst>
            <pc:docMk/>
            <pc:sldMk cId="2218536291" sldId="2147479162"/>
            <ac:cxnSpMk id="137" creationId="{61B85DC2-07A4-4C26-A725-177A75E35BC5}"/>
          </ac:cxnSpMkLst>
        </pc:cxnChg>
      </pc:sldChg>
      <pc:sldChg chg="modSp add mod ord">
        <pc:chgData name="Koen Verbeeck" userId="24d0e79a7fd977da" providerId="LiveId" clId="{BA5CD2F8-66DA-43DE-8187-1C492E55A66A}" dt="2023-10-19T16:25:11.792" v="1457" actId="20577"/>
        <pc:sldMkLst>
          <pc:docMk/>
          <pc:sldMk cId="3885224101" sldId="2147479163"/>
        </pc:sldMkLst>
        <pc:spChg chg="mod">
          <ac:chgData name="Koen Verbeeck" userId="24d0e79a7fd977da" providerId="LiveId" clId="{BA5CD2F8-66DA-43DE-8187-1C492E55A66A}" dt="2023-10-19T16:25:11.792" v="1457" actId="20577"/>
          <ac:spMkLst>
            <pc:docMk/>
            <pc:sldMk cId="3885224101" sldId="2147479163"/>
            <ac:spMk id="13" creationId="{0A925C7F-DC41-244E-985A-B5DACDDC487B}"/>
          </ac:spMkLst>
        </pc:spChg>
      </pc:sldChg>
      <pc:sldChg chg="new del">
        <pc:chgData name="Koen Verbeeck" userId="24d0e79a7fd977da" providerId="LiveId" clId="{BA5CD2F8-66DA-43DE-8187-1C492E55A66A}" dt="2023-10-19T12:49:07.962" v="1289" actId="47"/>
        <pc:sldMkLst>
          <pc:docMk/>
          <pc:sldMk cId="118677952" sldId="2147479164"/>
        </pc:sldMkLst>
      </pc:sldChg>
      <pc:sldChg chg="modSp add mod ord">
        <pc:chgData name="Koen Verbeeck" userId="24d0e79a7fd977da" providerId="LiveId" clId="{BA5CD2F8-66DA-43DE-8187-1C492E55A66A}" dt="2023-10-24T13:21:12.238" v="2462" actId="255"/>
        <pc:sldMkLst>
          <pc:docMk/>
          <pc:sldMk cId="3471712006" sldId="2147479165"/>
        </pc:sldMkLst>
        <pc:spChg chg="mod">
          <ac:chgData name="Koen Verbeeck" userId="24d0e79a7fd977da" providerId="LiveId" clId="{BA5CD2F8-66DA-43DE-8187-1C492E55A66A}" dt="2023-10-24T13:21:12.238" v="2462" actId="255"/>
          <ac:spMkLst>
            <pc:docMk/>
            <pc:sldMk cId="3471712006" sldId="2147479165"/>
            <ac:spMk id="13" creationId="{0A925C7F-DC41-244E-985A-B5DACDDC487B}"/>
          </ac:spMkLst>
        </pc:spChg>
      </pc:sldChg>
      <pc:sldChg chg="addSp delSp modSp new mod">
        <pc:chgData name="Koen Verbeeck" userId="24d0e79a7fd977da" providerId="LiveId" clId="{BA5CD2F8-66DA-43DE-8187-1C492E55A66A}" dt="2023-10-19T12:50:57.489" v="1392" actId="14100"/>
        <pc:sldMkLst>
          <pc:docMk/>
          <pc:sldMk cId="471977688" sldId="2147479166"/>
        </pc:sldMkLst>
        <pc:spChg chg="del">
          <ac:chgData name="Koen Verbeeck" userId="24d0e79a7fd977da" providerId="LiveId" clId="{BA5CD2F8-66DA-43DE-8187-1C492E55A66A}" dt="2023-10-19T12:50:41.099" v="1388" actId="478"/>
          <ac:spMkLst>
            <pc:docMk/>
            <pc:sldMk cId="471977688" sldId="2147479166"/>
            <ac:spMk id="2" creationId="{DB7BEAE4-8C73-F880-D3B7-1518DB45EFA6}"/>
          </ac:spMkLst>
        </pc:spChg>
        <pc:spChg chg="del">
          <ac:chgData name="Koen Verbeeck" userId="24d0e79a7fd977da" providerId="LiveId" clId="{BA5CD2F8-66DA-43DE-8187-1C492E55A66A}" dt="2023-10-19T12:50:41.099" v="1388" actId="478"/>
          <ac:spMkLst>
            <pc:docMk/>
            <pc:sldMk cId="471977688" sldId="2147479166"/>
            <ac:spMk id="3" creationId="{A5CAF1D6-AB7A-0340-9415-7708D093713C}"/>
          </ac:spMkLst>
        </pc:spChg>
        <pc:picChg chg="add mod">
          <ac:chgData name="Koen Verbeeck" userId="24d0e79a7fd977da" providerId="LiveId" clId="{BA5CD2F8-66DA-43DE-8187-1C492E55A66A}" dt="2023-10-19T12:50:57.489" v="1392" actId="14100"/>
          <ac:picMkLst>
            <pc:docMk/>
            <pc:sldMk cId="471977688" sldId="2147479166"/>
            <ac:picMk id="2050" creationId="{4A993B1F-E64A-76E4-C58D-85E1859CCDA0}"/>
          </ac:picMkLst>
        </pc:picChg>
      </pc:sldChg>
      <pc:sldChg chg="addSp delSp modSp new mod">
        <pc:chgData name="Koen Verbeeck" userId="24d0e79a7fd977da" providerId="LiveId" clId="{BA5CD2F8-66DA-43DE-8187-1C492E55A66A}" dt="2023-10-19T13:12:13.015" v="1397" actId="22"/>
        <pc:sldMkLst>
          <pc:docMk/>
          <pc:sldMk cId="955949538" sldId="2147479167"/>
        </pc:sldMkLst>
        <pc:spChg chg="del mod">
          <ac:chgData name="Koen Verbeeck" userId="24d0e79a7fd977da" providerId="LiveId" clId="{BA5CD2F8-66DA-43DE-8187-1C492E55A66A}" dt="2023-10-19T13:12:08.612" v="1395" actId="478"/>
          <ac:spMkLst>
            <pc:docMk/>
            <pc:sldMk cId="955949538" sldId="2147479167"/>
            <ac:spMk id="2" creationId="{52B69BA3-70B3-E3CA-048A-F06003F1A808}"/>
          </ac:spMkLst>
        </pc:spChg>
        <pc:spChg chg="del">
          <ac:chgData name="Koen Verbeeck" userId="24d0e79a7fd977da" providerId="LiveId" clId="{BA5CD2F8-66DA-43DE-8187-1C492E55A66A}" dt="2023-10-19T13:12:08.612" v="1395" actId="478"/>
          <ac:spMkLst>
            <pc:docMk/>
            <pc:sldMk cId="955949538" sldId="2147479167"/>
            <ac:spMk id="3" creationId="{54C12212-FC1B-8B53-A346-EE10334FD559}"/>
          </ac:spMkLst>
        </pc:spChg>
        <pc:spChg chg="add del mod">
          <ac:chgData name="Koen Verbeeck" userId="24d0e79a7fd977da" providerId="LiveId" clId="{BA5CD2F8-66DA-43DE-8187-1C492E55A66A}" dt="2023-10-19T13:12:12.522" v="1396" actId="478"/>
          <ac:spMkLst>
            <pc:docMk/>
            <pc:sldMk cId="955949538" sldId="2147479167"/>
            <ac:spMk id="5" creationId="{9EA22CC4-12D9-19B9-2DE8-EDB544E99A1B}"/>
          </ac:spMkLst>
        </pc:spChg>
        <pc:picChg chg="add">
          <ac:chgData name="Koen Verbeeck" userId="24d0e79a7fd977da" providerId="LiveId" clId="{BA5CD2F8-66DA-43DE-8187-1C492E55A66A}" dt="2023-10-19T13:12:13.015" v="1397" actId="22"/>
          <ac:picMkLst>
            <pc:docMk/>
            <pc:sldMk cId="955949538" sldId="2147479167"/>
            <ac:picMk id="7" creationId="{E1256A1F-413C-EE78-2D38-097E64FC6E2A}"/>
          </ac:picMkLst>
        </pc:picChg>
      </pc:sldChg>
      <pc:sldChg chg="addSp delSp modSp new mod ord modClrScheme modAnim chgLayout">
        <pc:chgData name="Koen Verbeeck" userId="24d0e79a7fd977da" providerId="LiveId" clId="{BA5CD2F8-66DA-43DE-8187-1C492E55A66A}" dt="2023-10-24T13:30:20.242" v="2466"/>
        <pc:sldMkLst>
          <pc:docMk/>
          <pc:sldMk cId="1585218437" sldId="2147479168"/>
        </pc:sldMkLst>
        <pc:spChg chg="del mod ord">
          <ac:chgData name="Koen Verbeeck" userId="24d0e79a7fd977da" providerId="LiveId" clId="{BA5CD2F8-66DA-43DE-8187-1C492E55A66A}" dt="2023-10-19T16:24:23.417" v="1399" actId="700"/>
          <ac:spMkLst>
            <pc:docMk/>
            <pc:sldMk cId="1585218437" sldId="2147479168"/>
            <ac:spMk id="2" creationId="{AB0413D3-03BE-488C-E77E-502994A2E9D9}"/>
          </ac:spMkLst>
        </pc:spChg>
        <pc:spChg chg="add mod ord">
          <ac:chgData name="Koen Verbeeck" userId="24d0e79a7fd977da" providerId="LiveId" clId="{BA5CD2F8-66DA-43DE-8187-1C492E55A66A}" dt="2023-10-19T16:24:29.354" v="1405" actId="20577"/>
          <ac:spMkLst>
            <pc:docMk/>
            <pc:sldMk cId="1585218437" sldId="2147479168"/>
            <ac:spMk id="3" creationId="{F633BE15-8834-8D01-22CC-510841B817E7}"/>
          </ac:spMkLst>
        </pc:spChg>
        <pc:spChg chg="add mod">
          <ac:chgData name="Koen Verbeeck" userId="24d0e79a7fd977da" providerId="LiveId" clId="{BA5CD2F8-66DA-43DE-8187-1C492E55A66A}" dt="2023-10-19T16:26:29.172" v="1503" actId="1076"/>
          <ac:spMkLst>
            <pc:docMk/>
            <pc:sldMk cId="1585218437" sldId="2147479168"/>
            <ac:spMk id="4" creationId="{61EB76A6-06AD-5407-26B0-BF2782721E7F}"/>
          </ac:spMkLst>
        </pc:spChg>
        <pc:spChg chg="add mod">
          <ac:chgData name="Koen Verbeeck" userId="24d0e79a7fd977da" providerId="LiveId" clId="{BA5CD2F8-66DA-43DE-8187-1C492E55A66A}" dt="2023-10-19T16:26:29.172" v="1503" actId="1076"/>
          <ac:spMkLst>
            <pc:docMk/>
            <pc:sldMk cId="1585218437" sldId="2147479168"/>
            <ac:spMk id="5" creationId="{8BBF48D9-C57A-AD2F-D448-DD36457DD477}"/>
          </ac:spMkLst>
        </pc:spChg>
        <pc:spChg chg="add mod">
          <ac:chgData name="Koen Verbeeck" userId="24d0e79a7fd977da" providerId="LiveId" clId="{BA5CD2F8-66DA-43DE-8187-1C492E55A66A}" dt="2023-10-19T16:26:29.172" v="1503" actId="1076"/>
          <ac:spMkLst>
            <pc:docMk/>
            <pc:sldMk cId="1585218437" sldId="2147479168"/>
            <ac:spMk id="6" creationId="{D77F0B4C-7713-811D-2FA6-0F198C8DA521}"/>
          </ac:spMkLst>
        </pc:spChg>
        <pc:spChg chg="add mod">
          <ac:chgData name="Koen Verbeeck" userId="24d0e79a7fd977da" providerId="LiveId" clId="{BA5CD2F8-66DA-43DE-8187-1C492E55A66A}" dt="2023-10-19T16:26:29.172" v="1503" actId="1076"/>
          <ac:spMkLst>
            <pc:docMk/>
            <pc:sldMk cId="1585218437" sldId="2147479168"/>
            <ac:spMk id="7" creationId="{64923BC1-D05F-63E6-6334-037EC1158A94}"/>
          </ac:spMkLst>
        </pc:spChg>
        <pc:spChg chg="add mod">
          <ac:chgData name="Koen Verbeeck" userId="24d0e79a7fd977da" providerId="LiveId" clId="{BA5CD2F8-66DA-43DE-8187-1C492E55A66A}" dt="2023-10-19T16:26:29.172" v="1503" actId="1076"/>
          <ac:spMkLst>
            <pc:docMk/>
            <pc:sldMk cId="1585218437" sldId="2147479168"/>
            <ac:spMk id="8" creationId="{876BFFB3-7972-242A-0782-3CE3EC179D2A}"/>
          </ac:spMkLst>
        </pc:spChg>
        <pc:spChg chg="add mod">
          <ac:chgData name="Koen Verbeeck" userId="24d0e79a7fd977da" providerId="LiveId" clId="{BA5CD2F8-66DA-43DE-8187-1C492E55A66A}" dt="2023-10-19T16:26:29.172" v="1503" actId="1076"/>
          <ac:spMkLst>
            <pc:docMk/>
            <pc:sldMk cId="1585218437" sldId="2147479168"/>
            <ac:spMk id="9" creationId="{C4B827B0-6CD5-6200-7F09-78A622149AF4}"/>
          </ac:spMkLst>
        </pc:spChg>
        <pc:spChg chg="add mod">
          <ac:chgData name="Koen Verbeeck" userId="24d0e79a7fd977da" providerId="LiveId" clId="{BA5CD2F8-66DA-43DE-8187-1C492E55A66A}" dt="2023-10-19T16:26:29.172" v="1503" actId="1076"/>
          <ac:spMkLst>
            <pc:docMk/>
            <pc:sldMk cId="1585218437" sldId="2147479168"/>
            <ac:spMk id="10" creationId="{E9043451-894D-7D88-AEAC-85EC48AA881F}"/>
          </ac:spMkLst>
        </pc:spChg>
        <pc:spChg chg="mod">
          <ac:chgData name="Koen Verbeeck" userId="24d0e79a7fd977da" providerId="LiveId" clId="{BA5CD2F8-66DA-43DE-8187-1C492E55A66A}" dt="2023-10-19T16:25:56.753" v="1499"/>
          <ac:spMkLst>
            <pc:docMk/>
            <pc:sldMk cId="1585218437" sldId="2147479168"/>
            <ac:spMk id="12" creationId="{A9C5B636-CF05-EA9B-1B88-A9BE426DF7DF}"/>
          </ac:spMkLst>
        </pc:spChg>
        <pc:spChg chg="mod">
          <ac:chgData name="Koen Verbeeck" userId="24d0e79a7fd977da" providerId="LiveId" clId="{BA5CD2F8-66DA-43DE-8187-1C492E55A66A}" dt="2023-10-19T16:25:56.753" v="1499"/>
          <ac:spMkLst>
            <pc:docMk/>
            <pc:sldMk cId="1585218437" sldId="2147479168"/>
            <ac:spMk id="13" creationId="{EF3303AB-0EC2-1FAC-6432-860D372109A3}"/>
          </ac:spMkLst>
        </pc:spChg>
        <pc:spChg chg="mod">
          <ac:chgData name="Koen Verbeeck" userId="24d0e79a7fd977da" providerId="LiveId" clId="{BA5CD2F8-66DA-43DE-8187-1C492E55A66A}" dt="2023-10-19T16:25:56.753" v="1499"/>
          <ac:spMkLst>
            <pc:docMk/>
            <pc:sldMk cId="1585218437" sldId="2147479168"/>
            <ac:spMk id="14" creationId="{08114085-ACB5-8BC6-55FC-7D3F3A20C5D7}"/>
          </ac:spMkLst>
        </pc:spChg>
        <pc:spChg chg="mod">
          <ac:chgData name="Koen Verbeeck" userId="24d0e79a7fd977da" providerId="LiveId" clId="{BA5CD2F8-66DA-43DE-8187-1C492E55A66A}" dt="2023-10-19T16:25:56.753" v="1499"/>
          <ac:spMkLst>
            <pc:docMk/>
            <pc:sldMk cId="1585218437" sldId="2147479168"/>
            <ac:spMk id="27" creationId="{8F123E7F-9810-8EB3-4D58-A4FDAC53E641}"/>
          </ac:spMkLst>
        </pc:spChg>
        <pc:spChg chg="mod">
          <ac:chgData name="Koen Verbeeck" userId="24d0e79a7fd977da" providerId="LiveId" clId="{BA5CD2F8-66DA-43DE-8187-1C492E55A66A}" dt="2023-10-19T16:25:56.753" v="1499"/>
          <ac:spMkLst>
            <pc:docMk/>
            <pc:sldMk cId="1585218437" sldId="2147479168"/>
            <ac:spMk id="29" creationId="{9861ECF2-55BB-3318-C936-03B6446A6A13}"/>
          </ac:spMkLst>
        </pc:spChg>
        <pc:spChg chg="mod">
          <ac:chgData name="Koen Verbeeck" userId="24d0e79a7fd977da" providerId="LiveId" clId="{BA5CD2F8-66DA-43DE-8187-1C492E55A66A}" dt="2023-10-19T16:25:56.753" v="1499"/>
          <ac:spMkLst>
            <pc:docMk/>
            <pc:sldMk cId="1585218437" sldId="2147479168"/>
            <ac:spMk id="30" creationId="{3DAA1D82-F21C-AA09-04DF-F7DF91CF5B30}"/>
          </ac:spMkLst>
        </pc:spChg>
        <pc:spChg chg="add mod">
          <ac:chgData name="Koen Verbeeck" userId="24d0e79a7fd977da" providerId="LiveId" clId="{BA5CD2F8-66DA-43DE-8187-1C492E55A66A}" dt="2023-10-19T16:26:29.172" v="1503" actId="1076"/>
          <ac:spMkLst>
            <pc:docMk/>
            <pc:sldMk cId="1585218437" sldId="2147479168"/>
            <ac:spMk id="42" creationId="{64D68BDD-2BC7-1F48-DFFE-9D0E017DC09D}"/>
          </ac:spMkLst>
        </pc:spChg>
        <pc:spChg chg="add mod">
          <ac:chgData name="Koen Verbeeck" userId="24d0e79a7fd977da" providerId="LiveId" clId="{BA5CD2F8-66DA-43DE-8187-1C492E55A66A}" dt="2023-10-19T16:26:29.172" v="1503" actId="1076"/>
          <ac:spMkLst>
            <pc:docMk/>
            <pc:sldMk cId="1585218437" sldId="2147479168"/>
            <ac:spMk id="43" creationId="{D801485F-28DC-CBCB-631B-D6B9903E5318}"/>
          </ac:spMkLst>
        </pc:spChg>
        <pc:spChg chg="add mod">
          <ac:chgData name="Koen Verbeeck" userId="24d0e79a7fd977da" providerId="LiveId" clId="{BA5CD2F8-66DA-43DE-8187-1C492E55A66A}" dt="2023-10-19T16:26:29.172" v="1503" actId="1076"/>
          <ac:spMkLst>
            <pc:docMk/>
            <pc:sldMk cId="1585218437" sldId="2147479168"/>
            <ac:spMk id="44" creationId="{AC1F4524-4EED-786F-8882-F0ABB0C87B18}"/>
          </ac:spMkLst>
        </pc:spChg>
        <pc:spChg chg="add mod">
          <ac:chgData name="Koen Verbeeck" userId="24d0e79a7fd977da" providerId="LiveId" clId="{BA5CD2F8-66DA-43DE-8187-1C492E55A66A}" dt="2023-10-19T16:26:29.172" v="1503" actId="1076"/>
          <ac:spMkLst>
            <pc:docMk/>
            <pc:sldMk cId="1585218437" sldId="2147479168"/>
            <ac:spMk id="45" creationId="{7CB61B0E-CAAA-DCCF-A456-F27410F3500D}"/>
          </ac:spMkLst>
        </pc:spChg>
        <pc:spChg chg="add mod">
          <ac:chgData name="Koen Verbeeck" userId="24d0e79a7fd977da" providerId="LiveId" clId="{BA5CD2F8-66DA-43DE-8187-1C492E55A66A}" dt="2023-10-19T16:26:29.172" v="1503" actId="1076"/>
          <ac:spMkLst>
            <pc:docMk/>
            <pc:sldMk cId="1585218437" sldId="2147479168"/>
            <ac:spMk id="46" creationId="{1DE8844F-213B-1F1B-66FA-A2CD42152078}"/>
          </ac:spMkLst>
        </pc:spChg>
        <pc:spChg chg="add mod">
          <ac:chgData name="Koen Verbeeck" userId="24d0e79a7fd977da" providerId="LiveId" clId="{BA5CD2F8-66DA-43DE-8187-1C492E55A66A}" dt="2023-10-19T16:26:29.172" v="1503" actId="1076"/>
          <ac:spMkLst>
            <pc:docMk/>
            <pc:sldMk cId="1585218437" sldId="2147479168"/>
            <ac:spMk id="47" creationId="{BE2FA251-5E70-77DF-73CC-990E48D093EA}"/>
          </ac:spMkLst>
        </pc:spChg>
        <pc:spChg chg="add mod">
          <ac:chgData name="Koen Verbeeck" userId="24d0e79a7fd977da" providerId="LiveId" clId="{BA5CD2F8-66DA-43DE-8187-1C492E55A66A}" dt="2023-10-19T16:26:29.172" v="1503" actId="1076"/>
          <ac:spMkLst>
            <pc:docMk/>
            <pc:sldMk cId="1585218437" sldId="2147479168"/>
            <ac:spMk id="48" creationId="{F05A3CAC-B5B6-AD6B-7001-4CC07F1B2776}"/>
          </ac:spMkLst>
        </pc:spChg>
        <pc:spChg chg="add mod">
          <ac:chgData name="Koen Verbeeck" userId="24d0e79a7fd977da" providerId="LiveId" clId="{BA5CD2F8-66DA-43DE-8187-1C492E55A66A}" dt="2023-10-19T16:26:29.172" v="1503" actId="1076"/>
          <ac:spMkLst>
            <pc:docMk/>
            <pc:sldMk cId="1585218437" sldId="2147479168"/>
            <ac:spMk id="49" creationId="{6F05D36F-6850-856D-0FFD-B8DCEB8160F4}"/>
          </ac:spMkLst>
        </pc:spChg>
        <pc:grpChg chg="add mod">
          <ac:chgData name="Koen Verbeeck" userId="24d0e79a7fd977da" providerId="LiveId" clId="{BA5CD2F8-66DA-43DE-8187-1C492E55A66A}" dt="2023-10-19T16:26:29.172" v="1503" actId="1076"/>
          <ac:grpSpMkLst>
            <pc:docMk/>
            <pc:sldMk cId="1585218437" sldId="2147479168"/>
            <ac:grpSpMk id="11" creationId="{ACFA4875-7411-1534-B19B-1E323AA3DC2D}"/>
          </ac:grpSpMkLst>
        </pc:grpChg>
        <pc:grpChg chg="add mod">
          <ac:chgData name="Koen Verbeeck" userId="24d0e79a7fd977da" providerId="LiveId" clId="{BA5CD2F8-66DA-43DE-8187-1C492E55A66A}" dt="2023-10-19T16:26:29.172" v="1503" actId="1076"/>
          <ac:grpSpMkLst>
            <pc:docMk/>
            <pc:sldMk cId="1585218437" sldId="2147479168"/>
            <ac:grpSpMk id="25" creationId="{07F2793D-A0B7-16D9-0DEE-C3B787C88ABD}"/>
          </ac:grpSpMkLst>
        </pc:grpChg>
        <pc:grpChg chg="mod">
          <ac:chgData name="Koen Verbeeck" userId="24d0e79a7fd977da" providerId="LiveId" clId="{BA5CD2F8-66DA-43DE-8187-1C492E55A66A}" dt="2023-10-19T16:25:56.753" v="1499"/>
          <ac:grpSpMkLst>
            <pc:docMk/>
            <pc:sldMk cId="1585218437" sldId="2147479168"/>
            <ac:grpSpMk id="26" creationId="{8036790E-A384-F7C0-B8DF-E6320402EE5B}"/>
          </ac:grpSpMkLst>
        </pc:grpChg>
        <pc:grpChg chg="mod">
          <ac:chgData name="Koen Verbeeck" userId="24d0e79a7fd977da" providerId="LiveId" clId="{BA5CD2F8-66DA-43DE-8187-1C492E55A66A}" dt="2023-10-19T16:25:56.753" v="1499"/>
          <ac:grpSpMkLst>
            <pc:docMk/>
            <pc:sldMk cId="1585218437" sldId="2147479168"/>
            <ac:grpSpMk id="28" creationId="{00F46D3B-2DC4-64EC-D6A5-83D55CFD83E9}"/>
          </ac:grpSpMkLst>
        </pc:grpChg>
        <pc:grpChg chg="mod">
          <ac:chgData name="Koen Verbeeck" userId="24d0e79a7fd977da" providerId="LiveId" clId="{BA5CD2F8-66DA-43DE-8187-1C492E55A66A}" dt="2023-10-19T16:25:56.753" v="1499"/>
          <ac:grpSpMkLst>
            <pc:docMk/>
            <pc:sldMk cId="1585218437" sldId="2147479168"/>
            <ac:grpSpMk id="31" creationId="{EB6A51F9-14EF-3861-5969-BE77CC49A23E}"/>
          </ac:grpSpMkLst>
        </pc:grpChg>
        <pc:picChg chg="mod">
          <ac:chgData name="Koen Verbeeck" userId="24d0e79a7fd977da" providerId="LiveId" clId="{BA5CD2F8-66DA-43DE-8187-1C492E55A66A}" dt="2023-10-19T16:25:56.753" v="1499"/>
          <ac:picMkLst>
            <pc:docMk/>
            <pc:sldMk cId="1585218437" sldId="2147479168"/>
            <ac:picMk id="32" creationId="{5E2B7492-492E-4476-8C03-8E32357F23AF}"/>
          </ac:picMkLst>
        </pc:picChg>
        <pc:picChg chg="mod">
          <ac:chgData name="Koen Verbeeck" userId="24d0e79a7fd977da" providerId="LiveId" clId="{BA5CD2F8-66DA-43DE-8187-1C492E55A66A}" dt="2023-10-19T16:25:56.753" v="1499"/>
          <ac:picMkLst>
            <pc:docMk/>
            <pc:sldMk cId="1585218437" sldId="2147479168"/>
            <ac:picMk id="33" creationId="{9B4B5DA7-6BC1-2703-EE60-DFC4BA8F059A}"/>
          </ac:picMkLst>
        </pc:picChg>
        <pc:picChg chg="mod">
          <ac:chgData name="Koen Verbeeck" userId="24d0e79a7fd977da" providerId="LiveId" clId="{BA5CD2F8-66DA-43DE-8187-1C492E55A66A}" dt="2023-10-19T16:25:56.753" v="1499"/>
          <ac:picMkLst>
            <pc:docMk/>
            <pc:sldMk cId="1585218437" sldId="2147479168"/>
            <ac:picMk id="34" creationId="{D10CD909-936D-2CB5-1B69-FC0CB3AA5125}"/>
          </ac:picMkLst>
        </pc:picChg>
        <pc:picChg chg="mod">
          <ac:chgData name="Koen Verbeeck" userId="24d0e79a7fd977da" providerId="LiveId" clId="{BA5CD2F8-66DA-43DE-8187-1C492E55A66A}" dt="2023-10-19T16:25:56.753" v="1499"/>
          <ac:picMkLst>
            <pc:docMk/>
            <pc:sldMk cId="1585218437" sldId="2147479168"/>
            <ac:picMk id="35" creationId="{9BFFF321-25C4-6535-86F2-21F4115E140E}"/>
          </ac:picMkLst>
        </pc:picChg>
        <pc:picChg chg="mod">
          <ac:chgData name="Koen Verbeeck" userId="24d0e79a7fd977da" providerId="LiveId" clId="{BA5CD2F8-66DA-43DE-8187-1C492E55A66A}" dt="2023-10-19T16:25:56.753" v="1499"/>
          <ac:picMkLst>
            <pc:docMk/>
            <pc:sldMk cId="1585218437" sldId="2147479168"/>
            <ac:picMk id="36" creationId="{2A05DD86-5C0B-688D-5EED-D1F760EB804D}"/>
          </ac:picMkLst>
        </pc:picChg>
        <pc:picChg chg="mod">
          <ac:chgData name="Koen Verbeeck" userId="24d0e79a7fd977da" providerId="LiveId" clId="{BA5CD2F8-66DA-43DE-8187-1C492E55A66A}" dt="2023-10-19T16:25:56.753" v="1499"/>
          <ac:picMkLst>
            <pc:docMk/>
            <pc:sldMk cId="1585218437" sldId="2147479168"/>
            <ac:picMk id="37" creationId="{A73F4219-9F2E-1673-D884-B64679010E55}"/>
          </ac:picMkLst>
        </pc:picChg>
        <pc:picChg chg="mod">
          <ac:chgData name="Koen Verbeeck" userId="24d0e79a7fd977da" providerId="LiveId" clId="{BA5CD2F8-66DA-43DE-8187-1C492E55A66A}" dt="2023-10-19T16:25:56.753" v="1499"/>
          <ac:picMkLst>
            <pc:docMk/>
            <pc:sldMk cId="1585218437" sldId="2147479168"/>
            <ac:picMk id="38" creationId="{F6219FBE-53D2-85D4-3247-BCC903F6E59A}"/>
          </ac:picMkLst>
        </pc:picChg>
        <pc:picChg chg="mod">
          <ac:chgData name="Koen Verbeeck" userId="24d0e79a7fd977da" providerId="LiveId" clId="{BA5CD2F8-66DA-43DE-8187-1C492E55A66A}" dt="2023-10-19T16:25:56.753" v="1499"/>
          <ac:picMkLst>
            <pc:docMk/>
            <pc:sldMk cId="1585218437" sldId="2147479168"/>
            <ac:picMk id="39" creationId="{679BB280-7B09-A592-E410-A2E0ADCC97F4}"/>
          </ac:picMkLst>
        </pc:picChg>
        <pc:picChg chg="mod">
          <ac:chgData name="Koen Verbeeck" userId="24d0e79a7fd977da" providerId="LiveId" clId="{BA5CD2F8-66DA-43DE-8187-1C492E55A66A}" dt="2023-10-19T16:25:56.753" v="1499"/>
          <ac:picMkLst>
            <pc:docMk/>
            <pc:sldMk cId="1585218437" sldId="2147479168"/>
            <ac:picMk id="40" creationId="{42B93B6F-1F8A-8716-AB92-B1486B528D89}"/>
          </ac:picMkLst>
        </pc:picChg>
        <pc:picChg chg="mod">
          <ac:chgData name="Koen Verbeeck" userId="24d0e79a7fd977da" providerId="LiveId" clId="{BA5CD2F8-66DA-43DE-8187-1C492E55A66A}" dt="2023-10-19T16:25:56.753" v="1499"/>
          <ac:picMkLst>
            <pc:docMk/>
            <pc:sldMk cId="1585218437" sldId="2147479168"/>
            <ac:picMk id="41" creationId="{42A5D9FE-1C24-B7E0-8CE9-C6A1FF62294C}"/>
          </ac:picMkLst>
        </pc:picChg>
        <pc:picChg chg="add del">
          <ac:chgData name="Koen Verbeeck" userId="24d0e79a7fd977da" providerId="LiveId" clId="{BA5CD2F8-66DA-43DE-8187-1C492E55A66A}" dt="2023-10-19T16:27:03.719" v="1505" actId="478"/>
          <ac:picMkLst>
            <pc:docMk/>
            <pc:sldMk cId="1585218437" sldId="2147479168"/>
            <ac:picMk id="3074" creationId="{440E3748-9F66-FACF-D062-1241666FEEBD}"/>
          </ac:picMkLst>
        </pc:picChg>
        <pc:picChg chg="add mod">
          <ac:chgData name="Koen Verbeeck" userId="24d0e79a7fd977da" providerId="LiveId" clId="{BA5CD2F8-66DA-43DE-8187-1C492E55A66A}" dt="2023-10-19T16:27:20.922" v="1507" actId="1076"/>
          <ac:picMkLst>
            <pc:docMk/>
            <pc:sldMk cId="1585218437" sldId="2147479168"/>
            <ac:picMk id="3076" creationId="{CDB328C7-6B34-CBD1-6257-32FF79CB8DEC}"/>
          </ac:picMkLst>
        </pc:picChg>
        <pc:cxnChg chg="mod">
          <ac:chgData name="Koen Verbeeck" userId="24d0e79a7fd977da" providerId="LiveId" clId="{BA5CD2F8-66DA-43DE-8187-1C492E55A66A}" dt="2023-10-19T16:25:56.753" v="1499"/>
          <ac:cxnSpMkLst>
            <pc:docMk/>
            <pc:sldMk cId="1585218437" sldId="2147479168"/>
            <ac:cxnSpMk id="15" creationId="{95212128-AAE1-8423-9131-36FAB35B46B1}"/>
          </ac:cxnSpMkLst>
        </pc:cxnChg>
        <pc:cxnChg chg="mod">
          <ac:chgData name="Koen Verbeeck" userId="24d0e79a7fd977da" providerId="LiveId" clId="{BA5CD2F8-66DA-43DE-8187-1C492E55A66A}" dt="2023-10-19T16:25:56.753" v="1499"/>
          <ac:cxnSpMkLst>
            <pc:docMk/>
            <pc:sldMk cId="1585218437" sldId="2147479168"/>
            <ac:cxnSpMk id="16" creationId="{03DA1147-1A0D-684F-53A5-565702F61A7E}"/>
          </ac:cxnSpMkLst>
        </pc:cxnChg>
        <pc:cxnChg chg="mod">
          <ac:chgData name="Koen Verbeeck" userId="24d0e79a7fd977da" providerId="LiveId" clId="{BA5CD2F8-66DA-43DE-8187-1C492E55A66A}" dt="2023-10-19T16:25:56.753" v="1499"/>
          <ac:cxnSpMkLst>
            <pc:docMk/>
            <pc:sldMk cId="1585218437" sldId="2147479168"/>
            <ac:cxnSpMk id="17" creationId="{BF829FE7-4201-377E-EA1E-7C712FE5C4FD}"/>
          </ac:cxnSpMkLst>
        </pc:cxnChg>
        <pc:cxnChg chg="mod">
          <ac:chgData name="Koen Verbeeck" userId="24d0e79a7fd977da" providerId="LiveId" clId="{BA5CD2F8-66DA-43DE-8187-1C492E55A66A}" dt="2023-10-19T16:25:56.753" v="1499"/>
          <ac:cxnSpMkLst>
            <pc:docMk/>
            <pc:sldMk cId="1585218437" sldId="2147479168"/>
            <ac:cxnSpMk id="18" creationId="{1933B35A-26D9-886B-DD16-0E26926160DD}"/>
          </ac:cxnSpMkLst>
        </pc:cxnChg>
        <pc:cxnChg chg="mod">
          <ac:chgData name="Koen Verbeeck" userId="24d0e79a7fd977da" providerId="LiveId" clId="{BA5CD2F8-66DA-43DE-8187-1C492E55A66A}" dt="2023-10-19T16:25:56.753" v="1499"/>
          <ac:cxnSpMkLst>
            <pc:docMk/>
            <pc:sldMk cId="1585218437" sldId="2147479168"/>
            <ac:cxnSpMk id="19" creationId="{F0A57A75-FCE8-25C3-3C63-CC766BE6A34C}"/>
          </ac:cxnSpMkLst>
        </pc:cxnChg>
        <pc:cxnChg chg="mod">
          <ac:chgData name="Koen Verbeeck" userId="24d0e79a7fd977da" providerId="LiveId" clId="{BA5CD2F8-66DA-43DE-8187-1C492E55A66A}" dt="2023-10-19T16:25:56.753" v="1499"/>
          <ac:cxnSpMkLst>
            <pc:docMk/>
            <pc:sldMk cId="1585218437" sldId="2147479168"/>
            <ac:cxnSpMk id="20" creationId="{FA9DD5AB-101F-648A-FEC2-9D87CF99FC26}"/>
          </ac:cxnSpMkLst>
        </pc:cxnChg>
        <pc:cxnChg chg="mod">
          <ac:chgData name="Koen Verbeeck" userId="24d0e79a7fd977da" providerId="LiveId" clId="{BA5CD2F8-66DA-43DE-8187-1C492E55A66A}" dt="2023-10-19T16:25:56.753" v="1499"/>
          <ac:cxnSpMkLst>
            <pc:docMk/>
            <pc:sldMk cId="1585218437" sldId="2147479168"/>
            <ac:cxnSpMk id="21" creationId="{1B0F7647-CB9C-8332-ED16-239521F63E34}"/>
          </ac:cxnSpMkLst>
        </pc:cxnChg>
        <pc:cxnChg chg="mod">
          <ac:chgData name="Koen Verbeeck" userId="24d0e79a7fd977da" providerId="LiveId" clId="{BA5CD2F8-66DA-43DE-8187-1C492E55A66A}" dt="2023-10-19T16:25:56.753" v="1499"/>
          <ac:cxnSpMkLst>
            <pc:docMk/>
            <pc:sldMk cId="1585218437" sldId="2147479168"/>
            <ac:cxnSpMk id="22" creationId="{93B1C16B-AC38-1E99-8AA2-4E3CE9A7BEC0}"/>
          </ac:cxnSpMkLst>
        </pc:cxnChg>
        <pc:cxnChg chg="mod">
          <ac:chgData name="Koen Verbeeck" userId="24d0e79a7fd977da" providerId="LiveId" clId="{BA5CD2F8-66DA-43DE-8187-1C492E55A66A}" dt="2023-10-19T16:25:56.753" v="1499"/>
          <ac:cxnSpMkLst>
            <pc:docMk/>
            <pc:sldMk cId="1585218437" sldId="2147479168"/>
            <ac:cxnSpMk id="23" creationId="{BF707D2C-8ABF-00B5-6C6F-EDD0D5984482}"/>
          </ac:cxnSpMkLst>
        </pc:cxnChg>
        <pc:cxnChg chg="mod">
          <ac:chgData name="Koen Verbeeck" userId="24d0e79a7fd977da" providerId="LiveId" clId="{BA5CD2F8-66DA-43DE-8187-1C492E55A66A}" dt="2023-10-19T16:25:56.753" v="1499"/>
          <ac:cxnSpMkLst>
            <pc:docMk/>
            <pc:sldMk cId="1585218437" sldId="2147479168"/>
            <ac:cxnSpMk id="24" creationId="{A8E6F53B-A30B-2349-7FEC-B5C410F6AB64}"/>
          </ac:cxnSpMkLst>
        </pc:cxnChg>
      </pc:sldChg>
      <pc:sldChg chg="modSp add mod">
        <pc:chgData name="Koen Verbeeck" userId="24d0e79a7fd977da" providerId="LiveId" clId="{BA5CD2F8-66DA-43DE-8187-1C492E55A66A}" dt="2023-10-19T16:25:24.997" v="1496" actId="20577"/>
        <pc:sldMkLst>
          <pc:docMk/>
          <pc:sldMk cId="38405499" sldId="2147479169"/>
        </pc:sldMkLst>
        <pc:spChg chg="mod">
          <ac:chgData name="Koen Verbeeck" userId="24d0e79a7fd977da" providerId="LiveId" clId="{BA5CD2F8-66DA-43DE-8187-1C492E55A66A}" dt="2023-10-19T16:25:24.997" v="1496" actId="20577"/>
          <ac:spMkLst>
            <pc:docMk/>
            <pc:sldMk cId="38405499" sldId="2147479169"/>
            <ac:spMk id="13" creationId="{0A925C7F-DC41-244E-985A-B5DACDDC487B}"/>
          </ac:spMkLst>
        </pc:spChg>
      </pc:sldChg>
      <pc:sldChg chg="modSp add mod">
        <pc:chgData name="Koen Verbeeck" userId="24d0e79a7fd977da" providerId="LiveId" clId="{BA5CD2F8-66DA-43DE-8187-1C492E55A66A}" dt="2023-10-20T13:45:19.761" v="1763" actId="20577"/>
        <pc:sldMkLst>
          <pc:docMk/>
          <pc:sldMk cId="485214994" sldId="2147479170"/>
        </pc:sldMkLst>
        <pc:spChg chg="mod">
          <ac:chgData name="Koen Verbeeck" userId="24d0e79a7fd977da" providerId="LiveId" clId="{BA5CD2F8-66DA-43DE-8187-1C492E55A66A}" dt="2023-10-20T13:45:19.761" v="1763" actId="20577"/>
          <ac:spMkLst>
            <pc:docMk/>
            <pc:sldMk cId="485214994" sldId="2147479170"/>
            <ac:spMk id="3" creationId="{3D26A323-ADFE-A02B-E06E-9E5FC358A01F}"/>
          </ac:spMkLst>
        </pc:spChg>
      </pc:sldChg>
      <pc:sldChg chg="new del">
        <pc:chgData name="Koen Verbeeck" userId="24d0e79a7fd977da" providerId="LiveId" clId="{BA5CD2F8-66DA-43DE-8187-1C492E55A66A}" dt="2023-10-20T13:45:48.933" v="1766" actId="47"/>
        <pc:sldMkLst>
          <pc:docMk/>
          <pc:sldMk cId="1501548629" sldId="2147479171"/>
        </pc:sldMkLst>
      </pc:sldChg>
      <pc:sldChg chg="addSp modSp add mod modAnim">
        <pc:chgData name="Koen Verbeeck" userId="24d0e79a7fd977da" providerId="LiveId" clId="{BA5CD2F8-66DA-43DE-8187-1C492E55A66A}" dt="2023-10-20T13:46:49.927" v="1899"/>
        <pc:sldMkLst>
          <pc:docMk/>
          <pc:sldMk cId="4093320302" sldId="2147479172"/>
        </pc:sldMkLst>
        <pc:spChg chg="add mod">
          <ac:chgData name="Koen Verbeeck" userId="24d0e79a7fd977da" providerId="LiveId" clId="{BA5CD2F8-66DA-43DE-8187-1C492E55A66A}" dt="2023-10-20T13:46:44.342" v="1898" actId="27636"/>
          <ac:spMkLst>
            <pc:docMk/>
            <pc:sldMk cId="4093320302" sldId="2147479172"/>
            <ac:spMk id="2" creationId="{099D1E64-75BA-15B3-6C12-FC64A3D758C5}"/>
          </ac:spMkLst>
        </pc:spChg>
        <pc:spChg chg="mod">
          <ac:chgData name="Koen Verbeeck" userId="24d0e79a7fd977da" providerId="LiveId" clId="{BA5CD2F8-66DA-43DE-8187-1C492E55A66A}" dt="2023-10-20T13:46:22.881" v="1820" actId="20577"/>
          <ac:spMkLst>
            <pc:docMk/>
            <pc:sldMk cId="4093320302" sldId="2147479172"/>
            <ac:spMk id="13" creationId="{0A925C7F-DC41-244E-985A-B5DACDDC487B}"/>
          </ac:spMkLst>
        </pc:spChg>
      </pc:sldChg>
      <pc:sldChg chg="addSp delSp modSp new mod modAnim">
        <pc:chgData name="Koen Verbeeck" userId="24d0e79a7fd977da" providerId="LiveId" clId="{BA5CD2F8-66DA-43DE-8187-1C492E55A66A}" dt="2023-10-20T14:12:02.562" v="2454"/>
        <pc:sldMkLst>
          <pc:docMk/>
          <pc:sldMk cId="864387825" sldId="2147479173"/>
        </pc:sldMkLst>
        <pc:spChg chg="add mod">
          <ac:chgData name="Koen Verbeeck" userId="24d0e79a7fd977da" providerId="LiveId" clId="{BA5CD2F8-66DA-43DE-8187-1C492E55A66A}" dt="2023-10-20T14:09:49.064" v="2293" actId="14100"/>
          <ac:spMkLst>
            <pc:docMk/>
            <pc:sldMk cId="864387825" sldId="2147479173"/>
            <ac:spMk id="2" creationId="{429AF6E4-A158-73A9-F5FD-18A5624D9291}"/>
          </ac:spMkLst>
        </pc:spChg>
        <pc:spChg chg="del">
          <ac:chgData name="Koen Verbeeck" userId="24d0e79a7fd977da" providerId="LiveId" clId="{BA5CD2F8-66DA-43DE-8187-1C492E55A66A}" dt="2023-10-20T13:48:18.961" v="1901" actId="478"/>
          <ac:spMkLst>
            <pc:docMk/>
            <pc:sldMk cId="864387825" sldId="2147479173"/>
            <ac:spMk id="2" creationId="{C0A52AFE-9814-9E7E-236E-79498C7DBFAA}"/>
          </ac:spMkLst>
        </pc:spChg>
        <pc:spChg chg="del">
          <ac:chgData name="Koen Verbeeck" userId="24d0e79a7fd977da" providerId="LiveId" clId="{BA5CD2F8-66DA-43DE-8187-1C492E55A66A}" dt="2023-10-20T13:48:18.961" v="1901" actId="478"/>
          <ac:spMkLst>
            <pc:docMk/>
            <pc:sldMk cId="864387825" sldId="2147479173"/>
            <ac:spMk id="3" creationId="{B28FBB61-9695-5F10-45D8-15DC45E706CF}"/>
          </ac:spMkLst>
        </pc:spChg>
        <pc:spChg chg="add mod">
          <ac:chgData name="Koen Verbeeck" userId="24d0e79a7fd977da" providerId="LiveId" clId="{BA5CD2F8-66DA-43DE-8187-1C492E55A66A}" dt="2023-10-20T14:10:33.042" v="2339" actId="1076"/>
          <ac:spMkLst>
            <pc:docMk/>
            <pc:sldMk cId="864387825" sldId="2147479173"/>
            <ac:spMk id="5" creationId="{54AF8739-8E05-E059-6375-656AED7D315E}"/>
          </ac:spMkLst>
        </pc:spChg>
        <pc:spChg chg="add mod">
          <ac:chgData name="Koen Verbeeck" userId="24d0e79a7fd977da" providerId="LiveId" clId="{BA5CD2F8-66DA-43DE-8187-1C492E55A66A}" dt="2023-10-20T14:06:40.404" v="2218" actId="1582"/>
          <ac:spMkLst>
            <pc:docMk/>
            <pc:sldMk cId="864387825" sldId="2147479173"/>
            <ac:spMk id="7" creationId="{9E16930F-553E-4FAC-B8D3-BAF34E905C02}"/>
          </ac:spMkLst>
        </pc:spChg>
        <pc:spChg chg="add mod">
          <ac:chgData name="Koen Verbeeck" userId="24d0e79a7fd977da" providerId="LiveId" clId="{BA5CD2F8-66DA-43DE-8187-1C492E55A66A}" dt="2023-10-20T14:11:54.679" v="2452" actId="1076"/>
          <ac:spMkLst>
            <pc:docMk/>
            <pc:sldMk cId="864387825" sldId="2147479173"/>
            <ac:spMk id="8" creationId="{1B045A73-B32F-1777-D1A9-0C438CF00123}"/>
          </ac:spMkLst>
        </pc:spChg>
        <pc:spChg chg="add mod">
          <ac:chgData name="Koen Verbeeck" userId="24d0e79a7fd977da" providerId="LiveId" clId="{BA5CD2F8-66DA-43DE-8187-1C492E55A66A}" dt="2023-10-20T14:08:40.064" v="2284" actId="20577"/>
          <ac:spMkLst>
            <pc:docMk/>
            <pc:sldMk cId="864387825" sldId="2147479173"/>
            <ac:spMk id="12" creationId="{F9460D5F-5268-0FAF-8099-7DFF587C51E1}"/>
          </ac:spMkLst>
        </pc:spChg>
        <pc:graphicFrameChg chg="add mod modGraphic">
          <ac:chgData name="Koen Verbeeck" userId="24d0e79a7fd977da" providerId="LiveId" clId="{BA5CD2F8-66DA-43DE-8187-1C492E55A66A}" dt="2023-10-20T14:06:18.810" v="2214" actId="1076"/>
          <ac:graphicFrameMkLst>
            <pc:docMk/>
            <pc:sldMk cId="864387825" sldId="2147479173"/>
            <ac:graphicFrameMk id="6" creationId="{11568771-3744-A1D1-475B-7DB0F8AABD15}"/>
          </ac:graphicFrameMkLst>
        </pc:graphicFrameChg>
        <pc:picChg chg="add del mod">
          <ac:chgData name="Koen Verbeeck" userId="24d0e79a7fd977da" providerId="LiveId" clId="{BA5CD2F8-66DA-43DE-8187-1C492E55A66A}" dt="2023-10-20T13:54:40.737" v="1906" actId="478"/>
          <ac:picMkLst>
            <pc:docMk/>
            <pc:sldMk cId="864387825" sldId="2147479173"/>
            <ac:picMk id="5" creationId="{BB1E250C-9CA3-78DE-7E76-7031008E8D2A}"/>
          </ac:picMkLst>
        </pc:picChg>
        <pc:cxnChg chg="add mod">
          <ac:chgData name="Koen Verbeeck" userId="24d0e79a7fd977da" providerId="LiveId" clId="{BA5CD2F8-66DA-43DE-8187-1C492E55A66A}" dt="2023-10-20T14:09:56.058" v="2296" actId="14100"/>
          <ac:cxnSpMkLst>
            <pc:docMk/>
            <pc:sldMk cId="864387825" sldId="2147479173"/>
            <ac:cxnSpMk id="3" creationId="{94FC7E4B-E8D1-18C8-1A8F-648B2A98CD3E}"/>
          </ac:cxnSpMkLst>
        </pc:cxnChg>
        <pc:cxnChg chg="add del">
          <ac:chgData name="Koen Verbeeck" userId="24d0e79a7fd977da" providerId="LiveId" clId="{BA5CD2F8-66DA-43DE-8187-1C492E55A66A}" dt="2023-10-20T14:06:54.853" v="2220" actId="11529"/>
          <ac:cxnSpMkLst>
            <pc:docMk/>
            <pc:sldMk cId="864387825" sldId="2147479173"/>
            <ac:cxnSpMk id="9" creationId="{9CA43BEB-A1E2-02CB-CD3B-81D979922EC1}"/>
          </ac:cxnSpMkLst>
        </pc:cxnChg>
        <pc:cxnChg chg="add mod">
          <ac:chgData name="Koen Verbeeck" userId="24d0e79a7fd977da" providerId="LiveId" clId="{BA5CD2F8-66DA-43DE-8187-1C492E55A66A}" dt="2023-10-20T14:07:41.379" v="2223" actId="14100"/>
          <ac:cxnSpMkLst>
            <pc:docMk/>
            <pc:sldMk cId="864387825" sldId="2147479173"/>
            <ac:cxnSpMk id="10" creationId="{62F1EE68-7DEC-F68B-160F-6AA346FFEF11}"/>
          </ac:cxnSpMkLst>
        </pc:cxnChg>
      </pc:sldChg>
      <pc:sldChg chg="add del ord">
        <pc:chgData name="Koen Verbeeck" userId="24d0e79a7fd977da" providerId="LiveId" clId="{BA5CD2F8-66DA-43DE-8187-1C492E55A66A}" dt="2023-10-20T14:11:17.717" v="2346" actId="47"/>
        <pc:sldMkLst>
          <pc:docMk/>
          <pc:sldMk cId="1014996976" sldId="2147479174"/>
        </pc:sldMkLst>
      </pc:sldChg>
    </pc:docChg>
  </pc:docChgLst>
  <pc:docChgLst>
    <pc:chgData name="Koen Verbeeck" userId="24d0e79a7fd977da" providerId="LiveId" clId="{41097454-1B86-439A-85D8-FCD1C96137AC}"/>
    <pc:docChg chg="undo custSel addSld delSld modSld">
      <pc:chgData name="Koen Verbeeck" userId="24d0e79a7fd977da" providerId="LiveId" clId="{41097454-1B86-439A-85D8-FCD1C96137AC}" dt="2023-11-24T10:33:56.163" v="298" actId="20577"/>
      <pc:docMkLst>
        <pc:docMk/>
      </pc:docMkLst>
      <pc:sldChg chg="modSp mod">
        <pc:chgData name="Koen Verbeeck" userId="24d0e79a7fd977da" providerId="LiveId" clId="{41097454-1B86-439A-85D8-FCD1C96137AC}" dt="2023-11-24T10:33:08.575" v="259"/>
        <pc:sldMkLst>
          <pc:docMk/>
          <pc:sldMk cId="726080506" sldId="407"/>
        </pc:sldMkLst>
        <pc:spChg chg="mod">
          <ac:chgData name="Koen Verbeeck" userId="24d0e79a7fd977da" providerId="LiveId" clId="{41097454-1B86-439A-85D8-FCD1C96137AC}" dt="2023-11-24T10:33:08.575" v="259"/>
          <ac:spMkLst>
            <pc:docMk/>
            <pc:sldMk cId="726080506" sldId="407"/>
            <ac:spMk id="4" creationId="{F0B5AEEA-3911-E5CE-F922-71918C732320}"/>
          </ac:spMkLst>
        </pc:spChg>
      </pc:sldChg>
      <pc:sldChg chg="modNotesTx">
        <pc:chgData name="Koen Verbeeck" userId="24d0e79a7fd977da" providerId="LiveId" clId="{41097454-1B86-439A-85D8-FCD1C96137AC}" dt="2023-11-24T10:09:51.200" v="63" actId="20577"/>
        <pc:sldMkLst>
          <pc:docMk/>
          <pc:sldMk cId="1981195702" sldId="2147479139"/>
        </pc:sldMkLst>
      </pc:sldChg>
      <pc:sldChg chg="del">
        <pc:chgData name="Koen Verbeeck" userId="24d0e79a7fd977da" providerId="LiveId" clId="{41097454-1B86-439A-85D8-FCD1C96137AC}" dt="2023-11-24T10:24:49.320" v="78" actId="47"/>
        <pc:sldMkLst>
          <pc:docMk/>
          <pc:sldMk cId="3471712006" sldId="2147479165"/>
        </pc:sldMkLst>
      </pc:sldChg>
      <pc:sldChg chg="modSp mod">
        <pc:chgData name="Koen Verbeeck" userId="24d0e79a7fd977da" providerId="LiveId" clId="{41097454-1B86-439A-85D8-FCD1C96137AC}" dt="2023-11-24T10:25:39.199" v="85" actId="20577"/>
        <pc:sldMkLst>
          <pc:docMk/>
          <pc:sldMk cId="485214994" sldId="2147479170"/>
        </pc:sldMkLst>
        <pc:spChg chg="mod">
          <ac:chgData name="Koen Verbeeck" userId="24d0e79a7fd977da" providerId="LiveId" clId="{41097454-1B86-439A-85D8-FCD1C96137AC}" dt="2023-11-24T10:25:39.199" v="85" actId="20577"/>
          <ac:spMkLst>
            <pc:docMk/>
            <pc:sldMk cId="485214994" sldId="2147479170"/>
            <ac:spMk id="3" creationId="{3D26A323-ADFE-A02B-E06E-9E5FC358A01F}"/>
          </ac:spMkLst>
        </pc:spChg>
      </pc:sldChg>
      <pc:sldChg chg="addSp modSp mod modAnim">
        <pc:chgData name="Koen Verbeeck" userId="24d0e79a7fd977da" providerId="LiveId" clId="{41097454-1B86-439A-85D8-FCD1C96137AC}" dt="2023-11-24T10:28:24.706" v="218"/>
        <pc:sldMkLst>
          <pc:docMk/>
          <pc:sldMk cId="864387825" sldId="2147479173"/>
        </pc:sldMkLst>
        <pc:spChg chg="add mod">
          <ac:chgData name="Koen Verbeeck" userId="24d0e79a7fd977da" providerId="LiveId" clId="{41097454-1B86-439A-85D8-FCD1C96137AC}" dt="2023-11-24T10:26:53.678" v="119" actId="14100"/>
          <ac:spMkLst>
            <pc:docMk/>
            <pc:sldMk cId="864387825" sldId="2147479173"/>
            <ac:spMk id="4" creationId="{5A94B864-DC96-9715-8F81-7A2F066718EE}"/>
          </ac:spMkLst>
        </pc:spChg>
        <pc:spChg chg="add mod">
          <ac:chgData name="Koen Verbeeck" userId="24d0e79a7fd977da" providerId="LiveId" clId="{41097454-1B86-439A-85D8-FCD1C96137AC}" dt="2023-11-24T10:28:04.024" v="217" actId="1076"/>
          <ac:spMkLst>
            <pc:docMk/>
            <pc:sldMk cId="864387825" sldId="2147479173"/>
            <ac:spMk id="13" creationId="{DCC41A69-3886-3435-9C61-E9B74C956A4A}"/>
          </ac:spMkLst>
        </pc:spChg>
        <pc:graphicFrameChg chg="modGraphic">
          <ac:chgData name="Koen Verbeeck" userId="24d0e79a7fd977da" providerId="LiveId" clId="{41097454-1B86-439A-85D8-FCD1C96137AC}" dt="2023-11-24T10:26:39.247" v="116" actId="6549"/>
          <ac:graphicFrameMkLst>
            <pc:docMk/>
            <pc:sldMk cId="864387825" sldId="2147479173"/>
            <ac:graphicFrameMk id="6" creationId="{11568771-3744-A1D1-475B-7DB0F8AABD15}"/>
          </ac:graphicFrameMkLst>
        </pc:graphicFrameChg>
        <pc:cxnChg chg="add mod">
          <ac:chgData name="Koen Verbeeck" userId="24d0e79a7fd977da" providerId="LiveId" clId="{41097454-1B86-439A-85D8-FCD1C96137AC}" dt="2023-11-24T10:28:00.967" v="216" actId="14100"/>
          <ac:cxnSpMkLst>
            <pc:docMk/>
            <pc:sldMk cId="864387825" sldId="2147479173"/>
            <ac:cxnSpMk id="9" creationId="{728261AF-1309-87DB-14B7-D88EA6636D27}"/>
          </ac:cxnSpMkLst>
        </pc:cxnChg>
      </pc:sldChg>
      <pc:sldChg chg="addSp modSp new mod">
        <pc:chgData name="Koen Verbeeck" userId="24d0e79a7fd977da" providerId="LiveId" clId="{41097454-1B86-439A-85D8-FCD1C96137AC}" dt="2023-11-24T10:10:20.937" v="77" actId="1076"/>
        <pc:sldMkLst>
          <pc:docMk/>
          <pc:sldMk cId="2179187347" sldId="2147479174"/>
        </pc:sldMkLst>
        <pc:spChg chg="mod">
          <ac:chgData name="Koen Verbeeck" userId="24d0e79a7fd977da" providerId="LiveId" clId="{41097454-1B86-439A-85D8-FCD1C96137AC}" dt="2023-11-24T10:10:09.151" v="73" actId="20577"/>
          <ac:spMkLst>
            <pc:docMk/>
            <pc:sldMk cId="2179187347" sldId="2147479174"/>
            <ac:spMk id="2" creationId="{8A4DBE20-23A3-848D-01E0-25B9F5CED3C3}"/>
          </ac:spMkLst>
        </pc:spChg>
        <pc:picChg chg="add mod">
          <ac:chgData name="Koen Verbeeck" userId="24d0e79a7fd977da" providerId="LiveId" clId="{41097454-1B86-439A-85D8-FCD1C96137AC}" dt="2023-11-24T10:10:20.937" v="77" actId="1076"/>
          <ac:picMkLst>
            <pc:docMk/>
            <pc:sldMk cId="2179187347" sldId="2147479174"/>
            <ac:picMk id="4" creationId="{E31C250C-C4B0-B37F-2A0A-30CA273A8A33}"/>
          </ac:picMkLst>
        </pc:picChg>
      </pc:sldChg>
      <pc:sldChg chg="modSp add modAnim">
        <pc:chgData name="Koen Verbeeck" userId="24d0e79a7fd977da" providerId="LiveId" clId="{41097454-1B86-439A-85D8-FCD1C96137AC}" dt="2023-11-24T10:33:56.163" v="298" actId="20577"/>
        <pc:sldMkLst>
          <pc:docMk/>
          <pc:sldMk cId="1943900276" sldId="2147479175"/>
        </pc:sldMkLst>
        <pc:spChg chg="mod">
          <ac:chgData name="Koen Verbeeck" userId="24d0e79a7fd977da" providerId="LiveId" clId="{41097454-1B86-439A-85D8-FCD1C96137AC}" dt="2023-11-24T10:33:56.163" v="298" actId="20577"/>
          <ac:spMkLst>
            <pc:docMk/>
            <pc:sldMk cId="1943900276" sldId="2147479175"/>
            <ac:spMk id="13" creationId="{0A925C7F-DC41-244E-985A-B5DACDDC487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AAD69C-6394-4659-9DC6-CEF546E314AF}" type="doc">
      <dgm:prSet loTypeId="urn:microsoft.com/office/officeart/2005/8/layout/cycle1" loCatId="cycle" qsTypeId="urn:microsoft.com/office/officeart/2005/8/quickstyle/simple2" qsCatId="simple" csTypeId="urn:microsoft.com/office/officeart/2005/8/colors/accent3_1" csCatId="accent3" phldr="1"/>
      <dgm:spPr/>
      <dgm:t>
        <a:bodyPr/>
        <a:lstStyle/>
        <a:p>
          <a:endParaRPr lang="en-US"/>
        </a:p>
      </dgm:t>
    </dgm:pt>
    <dgm:pt modelId="{13169D24-4EE7-468C-AC3B-7A132EFB12C9}">
      <dgm:prSet phldrT="[Text]"/>
      <dgm:spPr>
        <a:xfrm>
          <a:off x="2465763" y="189521"/>
          <a:ext cx="966135" cy="966135"/>
        </a:xfrm>
        <a:prstGeom prst="rect">
          <a:avLst/>
        </a:prstGeom>
        <a:noFill/>
        <a:ln>
          <a:noFill/>
        </a:ln>
        <a:effectLst/>
      </dgm:spPr>
      <dgm:t>
        <a:bodyPr/>
        <a:lstStyle/>
        <a:p>
          <a:pPr>
            <a:buNone/>
          </a:pPr>
          <a:r>
            <a:rPr lang="en-US">
              <a:solidFill>
                <a:srgbClr val="FFFFFF">
                  <a:hueOff val="0"/>
                  <a:satOff val="0"/>
                  <a:lumOff val="0"/>
                  <a:alphaOff val="0"/>
                </a:srgbClr>
              </a:solidFill>
              <a:latin typeface="Segoe UI"/>
              <a:ea typeface="+mn-ea"/>
              <a:cs typeface="+mn-cs"/>
            </a:rPr>
            <a:t> </a:t>
          </a:r>
        </a:p>
      </dgm:t>
    </dgm:pt>
    <dgm:pt modelId="{F5639D72-B5F1-4893-A792-6A81A5F49602}" type="parTrans" cxnId="{9E4578F5-42CB-46CE-895C-B207E74DD3C9}">
      <dgm:prSet/>
      <dgm:spPr/>
      <dgm:t>
        <a:bodyPr/>
        <a:lstStyle/>
        <a:p>
          <a:endParaRPr lang="en-US"/>
        </a:p>
      </dgm:t>
    </dgm:pt>
    <dgm:pt modelId="{8B2DFCDC-649C-4698-BC17-B76EFDE5EAE7}" type="sibTrans" cxnId="{9E4578F5-42CB-46CE-895C-B207E74DD3C9}">
      <dgm:prSet/>
      <dgm:spPr>
        <a:xfrm>
          <a:off x="994978" y="-352"/>
          <a:ext cx="2283575" cy="2283575"/>
        </a:xfrm>
        <a:prstGeom prst="circularArrow">
          <a:avLst>
            <a:gd name="adj1" fmla="val 8250"/>
            <a:gd name="adj2" fmla="val 576254"/>
            <a:gd name="adj3" fmla="val 2963230"/>
            <a:gd name="adj4" fmla="val 52142"/>
            <a:gd name="adj5" fmla="val 9625"/>
          </a:avLst>
        </a:prstGeom>
        <a:solidFill>
          <a:srgbClr val="FFFFFF">
            <a:hueOff val="0"/>
            <a:satOff val="0"/>
            <a:lumOff val="0"/>
            <a:alphaOff val="0"/>
          </a:srgbClr>
        </a:solidFill>
        <a:ln w="17145" cap="flat" cmpd="sng" algn="ctr">
          <a:solidFill>
            <a:srgbClr val="49C5B1">
              <a:lumMod val="50000"/>
            </a:srgbClr>
          </a:solidFill>
          <a:prstDash val="solid"/>
        </a:ln>
        <a:effectLst/>
      </dgm:spPr>
      <dgm:t>
        <a:bodyPr/>
        <a:lstStyle/>
        <a:p>
          <a:endParaRPr lang="en-US"/>
        </a:p>
      </dgm:t>
    </dgm:pt>
    <dgm:pt modelId="{061EFCA8-C85C-4297-81A8-B56B30E72CF4}">
      <dgm:prSet phldrT="[Text]"/>
      <dgm:spPr>
        <a:xfrm>
          <a:off x="1653698" y="1596059"/>
          <a:ext cx="966135" cy="966135"/>
        </a:xfrm>
        <a:prstGeom prst="rect">
          <a:avLst/>
        </a:prstGeom>
        <a:noFill/>
        <a:ln>
          <a:noFill/>
        </a:ln>
        <a:effectLst/>
      </dgm:spPr>
      <dgm:t>
        <a:bodyPr/>
        <a:lstStyle/>
        <a:p>
          <a:pPr>
            <a:buNone/>
          </a:pPr>
          <a:r>
            <a:rPr lang="en-US">
              <a:solidFill>
                <a:srgbClr val="FFFFFF">
                  <a:hueOff val="0"/>
                  <a:satOff val="0"/>
                  <a:lumOff val="0"/>
                  <a:alphaOff val="0"/>
                </a:srgbClr>
              </a:solidFill>
              <a:latin typeface="Segoe UI"/>
              <a:ea typeface="+mn-ea"/>
              <a:cs typeface="+mn-cs"/>
            </a:rPr>
            <a:t> </a:t>
          </a:r>
        </a:p>
      </dgm:t>
    </dgm:pt>
    <dgm:pt modelId="{A2F8ECAF-9024-4192-86D2-C9E4402C4DD1}" type="parTrans" cxnId="{A897B824-B9F4-48AC-B7DC-1802EBFFAD98}">
      <dgm:prSet/>
      <dgm:spPr/>
      <dgm:t>
        <a:bodyPr/>
        <a:lstStyle/>
        <a:p>
          <a:endParaRPr lang="en-US"/>
        </a:p>
      </dgm:t>
    </dgm:pt>
    <dgm:pt modelId="{12EE825A-823C-4423-9824-2356D7AA9041}" type="sibTrans" cxnId="{A897B824-B9F4-48AC-B7DC-1802EBFFAD98}">
      <dgm:prSet/>
      <dgm:spPr>
        <a:xfrm>
          <a:off x="994978" y="-352"/>
          <a:ext cx="2283575" cy="2283575"/>
        </a:xfrm>
        <a:prstGeom prst="circularArrow">
          <a:avLst>
            <a:gd name="adj1" fmla="val 8250"/>
            <a:gd name="adj2" fmla="val 576254"/>
            <a:gd name="adj3" fmla="val 10171605"/>
            <a:gd name="adj4" fmla="val 7260516"/>
            <a:gd name="adj5" fmla="val 9625"/>
          </a:avLst>
        </a:prstGeom>
        <a:solidFill>
          <a:srgbClr val="FFFFFF">
            <a:hueOff val="0"/>
            <a:satOff val="0"/>
            <a:lumOff val="0"/>
            <a:alphaOff val="0"/>
          </a:srgbClr>
        </a:solidFill>
        <a:ln w="17145" cap="flat" cmpd="sng" algn="ctr">
          <a:solidFill>
            <a:srgbClr val="49C5B1">
              <a:lumMod val="50000"/>
            </a:srgbClr>
          </a:solidFill>
          <a:prstDash val="solid"/>
        </a:ln>
        <a:effectLst/>
      </dgm:spPr>
      <dgm:t>
        <a:bodyPr/>
        <a:lstStyle/>
        <a:p>
          <a:endParaRPr lang="en-US"/>
        </a:p>
      </dgm:t>
    </dgm:pt>
    <dgm:pt modelId="{C091D08D-263A-4EFC-B6DE-EED5574159A4}">
      <dgm:prSet phldrT="[Text]"/>
      <dgm:spPr>
        <a:xfrm>
          <a:off x="841633" y="189521"/>
          <a:ext cx="966135" cy="966135"/>
        </a:xfrm>
        <a:prstGeom prst="rect">
          <a:avLst/>
        </a:prstGeom>
        <a:noFill/>
        <a:ln>
          <a:noFill/>
        </a:ln>
        <a:effectLst/>
      </dgm:spPr>
      <dgm:t>
        <a:bodyPr/>
        <a:lstStyle/>
        <a:p>
          <a:pPr>
            <a:buNone/>
          </a:pPr>
          <a:r>
            <a:rPr lang="en-US">
              <a:solidFill>
                <a:srgbClr val="FFFFFF">
                  <a:hueOff val="0"/>
                  <a:satOff val="0"/>
                  <a:lumOff val="0"/>
                  <a:alphaOff val="0"/>
                </a:srgbClr>
              </a:solidFill>
              <a:latin typeface="Segoe UI"/>
              <a:ea typeface="+mn-ea"/>
              <a:cs typeface="+mn-cs"/>
            </a:rPr>
            <a:t> </a:t>
          </a:r>
        </a:p>
      </dgm:t>
    </dgm:pt>
    <dgm:pt modelId="{E1B42B8C-6E57-43CD-98F9-02C36397AC0B}" type="parTrans" cxnId="{7E2C0A99-521D-4917-AE7B-62F5C6139F28}">
      <dgm:prSet/>
      <dgm:spPr/>
      <dgm:t>
        <a:bodyPr/>
        <a:lstStyle/>
        <a:p>
          <a:endParaRPr lang="en-US"/>
        </a:p>
      </dgm:t>
    </dgm:pt>
    <dgm:pt modelId="{9B2D45C0-EDD4-4AC6-891B-1AEBACAB6CB2}" type="sibTrans" cxnId="{7E2C0A99-521D-4917-AE7B-62F5C6139F28}">
      <dgm:prSet/>
      <dgm:spPr>
        <a:xfrm>
          <a:off x="994978" y="-352"/>
          <a:ext cx="2283575" cy="2283575"/>
        </a:xfrm>
        <a:prstGeom prst="circularArrow">
          <a:avLst>
            <a:gd name="adj1" fmla="val 8250"/>
            <a:gd name="adj2" fmla="val 576254"/>
            <a:gd name="adj3" fmla="val 16856137"/>
            <a:gd name="adj4" fmla="val 14967610"/>
            <a:gd name="adj5" fmla="val 9625"/>
          </a:avLst>
        </a:prstGeom>
        <a:solidFill>
          <a:srgbClr val="FFFFFF">
            <a:hueOff val="0"/>
            <a:satOff val="0"/>
            <a:lumOff val="0"/>
            <a:alphaOff val="0"/>
          </a:srgbClr>
        </a:solidFill>
        <a:ln w="17145" cap="flat" cmpd="sng" algn="ctr">
          <a:solidFill>
            <a:srgbClr val="49C5B1">
              <a:lumMod val="50000"/>
            </a:srgbClr>
          </a:solidFill>
          <a:prstDash val="solid"/>
        </a:ln>
        <a:effectLst/>
      </dgm:spPr>
      <dgm:t>
        <a:bodyPr/>
        <a:lstStyle/>
        <a:p>
          <a:endParaRPr lang="en-US"/>
        </a:p>
      </dgm:t>
    </dgm:pt>
    <dgm:pt modelId="{520C490F-E3FA-4115-97BE-69C148B7448B}" type="pres">
      <dgm:prSet presAssocID="{FCAAD69C-6394-4659-9DC6-CEF546E314AF}" presName="cycle" presStyleCnt="0">
        <dgm:presLayoutVars>
          <dgm:dir/>
          <dgm:resizeHandles val="exact"/>
        </dgm:presLayoutVars>
      </dgm:prSet>
      <dgm:spPr/>
    </dgm:pt>
    <dgm:pt modelId="{DC741617-4CE6-414D-B49D-1A8541E4B937}" type="pres">
      <dgm:prSet presAssocID="{13169D24-4EE7-468C-AC3B-7A132EFB12C9}" presName="dummy" presStyleCnt="0"/>
      <dgm:spPr/>
    </dgm:pt>
    <dgm:pt modelId="{C10A87E1-FDD3-46A8-B5D2-4FD98AE9AB7A}" type="pres">
      <dgm:prSet presAssocID="{13169D24-4EE7-468C-AC3B-7A132EFB12C9}" presName="node" presStyleLbl="revTx" presStyleIdx="0" presStyleCnt="3">
        <dgm:presLayoutVars>
          <dgm:bulletEnabled val="1"/>
        </dgm:presLayoutVars>
      </dgm:prSet>
      <dgm:spPr/>
    </dgm:pt>
    <dgm:pt modelId="{0FD55D5E-208F-430F-A8CD-94EE7D827193}" type="pres">
      <dgm:prSet presAssocID="{8B2DFCDC-649C-4698-BC17-B76EFDE5EAE7}" presName="sibTrans" presStyleLbl="node1" presStyleIdx="0" presStyleCnt="3"/>
      <dgm:spPr/>
    </dgm:pt>
    <dgm:pt modelId="{9949D689-75E9-485B-B200-E10CD4C37D1E}" type="pres">
      <dgm:prSet presAssocID="{061EFCA8-C85C-4297-81A8-B56B30E72CF4}" presName="dummy" presStyleCnt="0"/>
      <dgm:spPr/>
    </dgm:pt>
    <dgm:pt modelId="{321739F0-C0EA-432F-B4F6-625A9A1A0A22}" type="pres">
      <dgm:prSet presAssocID="{061EFCA8-C85C-4297-81A8-B56B30E72CF4}" presName="node" presStyleLbl="revTx" presStyleIdx="1" presStyleCnt="3">
        <dgm:presLayoutVars>
          <dgm:bulletEnabled val="1"/>
        </dgm:presLayoutVars>
      </dgm:prSet>
      <dgm:spPr/>
    </dgm:pt>
    <dgm:pt modelId="{E63292B4-3A39-4193-AEE4-E9048BA64B09}" type="pres">
      <dgm:prSet presAssocID="{12EE825A-823C-4423-9824-2356D7AA9041}" presName="sibTrans" presStyleLbl="node1" presStyleIdx="1" presStyleCnt="3"/>
      <dgm:spPr/>
    </dgm:pt>
    <dgm:pt modelId="{DB5E506D-B154-44AB-9653-DC0DE6573ADC}" type="pres">
      <dgm:prSet presAssocID="{C091D08D-263A-4EFC-B6DE-EED5574159A4}" presName="dummy" presStyleCnt="0"/>
      <dgm:spPr/>
    </dgm:pt>
    <dgm:pt modelId="{3DFC0A82-DFE9-45F9-9F12-37E7C2411C3F}" type="pres">
      <dgm:prSet presAssocID="{C091D08D-263A-4EFC-B6DE-EED5574159A4}" presName="node" presStyleLbl="revTx" presStyleIdx="2" presStyleCnt="3">
        <dgm:presLayoutVars>
          <dgm:bulletEnabled val="1"/>
        </dgm:presLayoutVars>
      </dgm:prSet>
      <dgm:spPr/>
    </dgm:pt>
    <dgm:pt modelId="{0B72F96B-EF82-4822-A1F0-A34A894C4D37}" type="pres">
      <dgm:prSet presAssocID="{9B2D45C0-EDD4-4AC6-891B-1AEBACAB6CB2}" presName="sibTrans" presStyleLbl="node1" presStyleIdx="2" presStyleCnt="3"/>
      <dgm:spPr/>
    </dgm:pt>
  </dgm:ptLst>
  <dgm:cxnLst>
    <dgm:cxn modelId="{A897B824-B9F4-48AC-B7DC-1802EBFFAD98}" srcId="{FCAAD69C-6394-4659-9DC6-CEF546E314AF}" destId="{061EFCA8-C85C-4297-81A8-B56B30E72CF4}" srcOrd="1" destOrd="0" parTransId="{A2F8ECAF-9024-4192-86D2-C9E4402C4DD1}" sibTransId="{12EE825A-823C-4423-9824-2356D7AA9041}"/>
    <dgm:cxn modelId="{F0BB7A26-219E-4F00-B1E1-CE4ABDC09B90}" type="presOf" srcId="{13169D24-4EE7-468C-AC3B-7A132EFB12C9}" destId="{C10A87E1-FDD3-46A8-B5D2-4FD98AE9AB7A}" srcOrd="0" destOrd="0" presId="urn:microsoft.com/office/officeart/2005/8/layout/cycle1"/>
    <dgm:cxn modelId="{562C4444-3AEE-4C9B-9CF3-104F59FE5DC8}" type="presOf" srcId="{C091D08D-263A-4EFC-B6DE-EED5574159A4}" destId="{3DFC0A82-DFE9-45F9-9F12-37E7C2411C3F}" srcOrd="0" destOrd="0" presId="urn:microsoft.com/office/officeart/2005/8/layout/cycle1"/>
    <dgm:cxn modelId="{A398A647-5244-47A7-8009-2C537E5C0340}" type="presOf" srcId="{FCAAD69C-6394-4659-9DC6-CEF546E314AF}" destId="{520C490F-E3FA-4115-97BE-69C148B7448B}" srcOrd="0" destOrd="0" presId="urn:microsoft.com/office/officeart/2005/8/layout/cycle1"/>
    <dgm:cxn modelId="{E6D9EB55-80F0-409A-8D57-FB1CB72524EB}" type="presOf" srcId="{8B2DFCDC-649C-4698-BC17-B76EFDE5EAE7}" destId="{0FD55D5E-208F-430F-A8CD-94EE7D827193}" srcOrd="0" destOrd="0" presId="urn:microsoft.com/office/officeart/2005/8/layout/cycle1"/>
    <dgm:cxn modelId="{7E2C0A99-521D-4917-AE7B-62F5C6139F28}" srcId="{FCAAD69C-6394-4659-9DC6-CEF546E314AF}" destId="{C091D08D-263A-4EFC-B6DE-EED5574159A4}" srcOrd="2" destOrd="0" parTransId="{E1B42B8C-6E57-43CD-98F9-02C36397AC0B}" sibTransId="{9B2D45C0-EDD4-4AC6-891B-1AEBACAB6CB2}"/>
    <dgm:cxn modelId="{69FB49D8-12C9-43B2-8D65-F84595E870D6}" type="presOf" srcId="{061EFCA8-C85C-4297-81A8-B56B30E72CF4}" destId="{321739F0-C0EA-432F-B4F6-625A9A1A0A22}" srcOrd="0" destOrd="0" presId="urn:microsoft.com/office/officeart/2005/8/layout/cycle1"/>
    <dgm:cxn modelId="{A8B55AE8-F1EF-43D5-A66B-74BE38670C7E}" type="presOf" srcId="{9B2D45C0-EDD4-4AC6-891B-1AEBACAB6CB2}" destId="{0B72F96B-EF82-4822-A1F0-A34A894C4D37}" srcOrd="0" destOrd="0" presId="urn:microsoft.com/office/officeart/2005/8/layout/cycle1"/>
    <dgm:cxn modelId="{9E4578F5-42CB-46CE-895C-B207E74DD3C9}" srcId="{FCAAD69C-6394-4659-9DC6-CEF546E314AF}" destId="{13169D24-4EE7-468C-AC3B-7A132EFB12C9}" srcOrd="0" destOrd="0" parTransId="{F5639D72-B5F1-4893-A792-6A81A5F49602}" sibTransId="{8B2DFCDC-649C-4698-BC17-B76EFDE5EAE7}"/>
    <dgm:cxn modelId="{7D6208F7-52B2-42D1-A38B-D23527C381DD}" type="presOf" srcId="{12EE825A-823C-4423-9824-2356D7AA9041}" destId="{E63292B4-3A39-4193-AEE4-E9048BA64B09}" srcOrd="0" destOrd="0" presId="urn:microsoft.com/office/officeart/2005/8/layout/cycle1"/>
    <dgm:cxn modelId="{BBF52AF9-101C-4C6A-BF05-6DEE78758BA2}" type="presParOf" srcId="{520C490F-E3FA-4115-97BE-69C148B7448B}" destId="{DC741617-4CE6-414D-B49D-1A8541E4B937}" srcOrd="0" destOrd="0" presId="urn:microsoft.com/office/officeart/2005/8/layout/cycle1"/>
    <dgm:cxn modelId="{A9AD1846-C967-4517-9C9D-26B78BE3AE77}" type="presParOf" srcId="{520C490F-E3FA-4115-97BE-69C148B7448B}" destId="{C10A87E1-FDD3-46A8-B5D2-4FD98AE9AB7A}" srcOrd="1" destOrd="0" presId="urn:microsoft.com/office/officeart/2005/8/layout/cycle1"/>
    <dgm:cxn modelId="{63D425DD-6AC9-4E4E-A346-C57951326528}" type="presParOf" srcId="{520C490F-E3FA-4115-97BE-69C148B7448B}" destId="{0FD55D5E-208F-430F-A8CD-94EE7D827193}" srcOrd="2" destOrd="0" presId="urn:microsoft.com/office/officeart/2005/8/layout/cycle1"/>
    <dgm:cxn modelId="{EFD052E3-7554-4AA2-8958-E920FAD88CA3}" type="presParOf" srcId="{520C490F-E3FA-4115-97BE-69C148B7448B}" destId="{9949D689-75E9-485B-B200-E10CD4C37D1E}" srcOrd="3" destOrd="0" presId="urn:microsoft.com/office/officeart/2005/8/layout/cycle1"/>
    <dgm:cxn modelId="{0D5FF322-A3BD-44A4-AE07-DE52815E51F6}" type="presParOf" srcId="{520C490F-E3FA-4115-97BE-69C148B7448B}" destId="{321739F0-C0EA-432F-B4F6-625A9A1A0A22}" srcOrd="4" destOrd="0" presId="urn:microsoft.com/office/officeart/2005/8/layout/cycle1"/>
    <dgm:cxn modelId="{48511616-C043-4C6C-ACCE-ED72148000FA}" type="presParOf" srcId="{520C490F-E3FA-4115-97BE-69C148B7448B}" destId="{E63292B4-3A39-4193-AEE4-E9048BA64B09}" srcOrd="5" destOrd="0" presId="urn:microsoft.com/office/officeart/2005/8/layout/cycle1"/>
    <dgm:cxn modelId="{74BE170D-8093-40F8-A1E9-797AD6B78237}" type="presParOf" srcId="{520C490F-E3FA-4115-97BE-69C148B7448B}" destId="{DB5E506D-B154-44AB-9653-DC0DE6573ADC}" srcOrd="6" destOrd="0" presId="urn:microsoft.com/office/officeart/2005/8/layout/cycle1"/>
    <dgm:cxn modelId="{D157CD44-6D53-4636-ADCD-0650BC8CC193}" type="presParOf" srcId="{520C490F-E3FA-4115-97BE-69C148B7448B}" destId="{3DFC0A82-DFE9-45F9-9F12-37E7C2411C3F}" srcOrd="7" destOrd="0" presId="urn:microsoft.com/office/officeart/2005/8/layout/cycle1"/>
    <dgm:cxn modelId="{0B567098-4C73-45E6-BAA7-49B789F7D003}" type="presParOf" srcId="{520C490F-E3FA-4115-97BE-69C148B7448B}" destId="{0B72F96B-EF82-4822-A1F0-A34A894C4D37}" srcOrd="8" destOrd="0" presId="urn:microsoft.com/office/officeart/2005/8/layout/cycle1"/>
  </dgm:cxnLst>
  <dgm:bg/>
  <dgm:whole>
    <a:ln>
      <a:noFill/>
    </a:ln>
  </dgm:whole>
  <dgm:extLst>
    <a:ext uri="http://schemas.microsoft.com/office/drawing/2008/diagram">
      <dsp:dataModelExt xmlns:dsp="http://schemas.microsoft.com/office/drawing/2008/diagram" relId="rId20"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0A87E1-FDD3-46A8-B5D2-4FD98AE9AB7A}">
      <dsp:nvSpPr>
        <dsp:cNvPr id="0" name=""/>
        <dsp:cNvSpPr/>
      </dsp:nvSpPr>
      <dsp:spPr>
        <a:xfrm>
          <a:off x="2465763" y="189521"/>
          <a:ext cx="966135" cy="96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r>
            <a:rPr lang="en-US" sz="5400" kern="1200">
              <a:solidFill>
                <a:srgbClr val="FFFFFF">
                  <a:hueOff val="0"/>
                  <a:satOff val="0"/>
                  <a:lumOff val="0"/>
                  <a:alphaOff val="0"/>
                </a:srgbClr>
              </a:solidFill>
              <a:latin typeface="Segoe UI"/>
              <a:ea typeface="+mn-ea"/>
              <a:cs typeface="+mn-cs"/>
            </a:rPr>
            <a:t> </a:t>
          </a:r>
        </a:p>
      </dsp:txBody>
      <dsp:txXfrm>
        <a:off x="2465763" y="189521"/>
        <a:ext cx="966135" cy="966135"/>
      </dsp:txXfrm>
    </dsp:sp>
    <dsp:sp modelId="{0FD55D5E-208F-430F-A8CD-94EE7D827193}">
      <dsp:nvSpPr>
        <dsp:cNvPr id="0" name=""/>
        <dsp:cNvSpPr/>
      </dsp:nvSpPr>
      <dsp:spPr>
        <a:xfrm>
          <a:off x="994978" y="-352"/>
          <a:ext cx="2283575" cy="2283575"/>
        </a:xfrm>
        <a:prstGeom prst="circularArrow">
          <a:avLst>
            <a:gd name="adj1" fmla="val 8250"/>
            <a:gd name="adj2" fmla="val 576254"/>
            <a:gd name="adj3" fmla="val 2963230"/>
            <a:gd name="adj4" fmla="val 52142"/>
            <a:gd name="adj5" fmla="val 9625"/>
          </a:avLst>
        </a:prstGeom>
        <a:solidFill>
          <a:srgbClr val="FFFFFF">
            <a:hueOff val="0"/>
            <a:satOff val="0"/>
            <a:lumOff val="0"/>
            <a:alphaOff val="0"/>
          </a:srgbClr>
        </a:solidFill>
        <a:ln w="17145" cap="flat" cmpd="sng" algn="ctr">
          <a:solidFill>
            <a:srgbClr val="49C5B1">
              <a:lumMod val="50000"/>
            </a:srgb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21739F0-C0EA-432F-B4F6-625A9A1A0A22}">
      <dsp:nvSpPr>
        <dsp:cNvPr id="0" name=""/>
        <dsp:cNvSpPr/>
      </dsp:nvSpPr>
      <dsp:spPr>
        <a:xfrm>
          <a:off x="1653698" y="1596059"/>
          <a:ext cx="966135" cy="96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r>
            <a:rPr lang="en-US" sz="5400" kern="1200">
              <a:solidFill>
                <a:srgbClr val="FFFFFF">
                  <a:hueOff val="0"/>
                  <a:satOff val="0"/>
                  <a:lumOff val="0"/>
                  <a:alphaOff val="0"/>
                </a:srgbClr>
              </a:solidFill>
              <a:latin typeface="Segoe UI"/>
              <a:ea typeface="+mn-ea"/>
              <a:cs typeface="+mn-cs"/>
            </a:rPr>
            <a:t> </a:t>
          </a:r>
        </a:p>
      </dsp:txBody>
      <dsp:txXfrm>
        <a:off x="1653698" y="1596059"/>
        <a:ext cx="966135" cy="966135"/>
      </dsp:txXfrm>
    </dsp:sp>
    <dsp:sp modelId="{E63292B4-3A39-4193-AEE4-E9048BA64B09}">
      <dsp:nvSpPr>
        <dsp:cNvPr id="0" name=""/>
        <dsp:cNvSpPr/>
      </dsp:nvSpPr>
      <dsp:spPr>
        <a:xfrm>
          <a:off x="994978" y="-352"/>
          <a:ext cx="2283575" cy="2283575"/>
        </a:xfrm>
        <a:prstGeom prst="circularArrow">
          <a:avLst>
            <a:gd name="adj1" fmla="val 8250"/>
            <a:gd name="adj2" fmla="val 576254"/>
            <a:gd name="adj3" fmla="val 10171605"/>
            <a:gd name="adj4" fmla="val 7260516"/>
            <a:gd name="adj5" fmla="val 9625"/>
          </a:avLst>
        </a:prstGeom>
        <a:solidFill>
          <a:srgbClr val="FFFFFF">
            <a:hueOff val="0"/>
            <a:satOff val="0"/>
            <a:lumOff val="0"/>
            <a:alphaOff val="0"/>
          </a:srgbClr>
        </a:solidFill>
        <a:ln w="17145" cap="flat" cmpd="sng" algn="ctr">
          <a:solidFill>
            <a:srgbClr val="49C5B1">
              <a:lumMod val="50000"/>
            </a:srgb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DFC0A82-DFE9-45F9-9F12-37E7C2411C3F}">
      <dsp:nvSpPr>
        <dsp:cNvPr id="0" name=""/>
        <dsp:cNvSpPr/>
      </dsp:nvSpPr>
      <dsp:spPr>
        <a:xfrm>
          <a:off x="841633" y="189521"/>
          <a:ext cx="966135" cy="96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r>
            <a:rPr lang="en-US" sz="5400" kern="1200">
              <a:solidFill>
                <a:srgbClr val="FFFFFF">
                  <a:hueOff val="0"/>
                  <a:satOff val="0"/>
                  <a:lumOff val="0"/>
                  <a:alphaOff val="0"/>
                </a:srgbClr>
              </a:solidFill>
              <a:latin typeface="Segoe UI"/>
              <a:ea typeface="+mn-ea"/>
              <a:cs typeface="+mn-cs"/>
            </a:rPr>
            <a:t> </a:t>
          </a:r>
        </a:p>
      </dsp:txBody>
      <dsp:txXfrm>
        <a:off x="841633" y="189521"/>
        <a:ext cx="966135" cy="966135"/>
      </dsp:txXfrm>
    </dsp:sp>
    <dsp:sp modelId="{0B72F96B-EF82-4822-A1F0-A34A894C4D37}">
      <dsp:nvSpPr>
        <dsp:cNvPr id="0" name=""/>
        <dsp:cNvSpPr/>
      </dsp:nvSpPr>
      <dsp:spPr>
        <a:xfrm>
          <a:off x="994978" y="-352"/>
          <a:ext cx="2283575" cy="2283575"/>
        </a:xfrm>
        <a:prstGeom prst="circularArrow">
          <a:avLst>
            <a:gd name="adj1" fmla="val 8250"/>
            <a:gd name="adj2" fmla="val 576254"/>
            <a:gd name="adj3" fmla="val 16856137"/>
            <a:gd name="adj4" fmla="val 14967610"/>
            <a:gd name="adj5" fmla="val 9625"/>
          </a:avLst>
        </a:prstGeom>
        <a:solidFill>
          <a:srgbClr val="FFFFFF">
            <a:hueOff val="0"/>
            <a:satOff val="0"/>
            <a:lumOff val="0"/>
            <a:alphaOff val="0"/>
          </a:srgbClr>
        </a:solidFill>
        <a:ln w="17145" cap="flat" cmpd="sng" algn="ctr">
          <a:solidFill>
            <a:srgbClr val="49C5B1">
              <a:lumMod val="50000"/>
            </a:srgbClr>
          </a:solidFill>
          <a:prstDash val="solid"/>
          <a:miter lim="800000"/>
        </a:ln>
        <a:effectLst/>
      </dsp:spPr>
      <dsp:style>
        <a:lnRef idx="3">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ABA571-E4C4-46FA-BCB4-F91B90E09927}" type="datetimeFigureOut">
              <a:rPr lang="nl-BE" smtClean="0"/>
              <a:t>24/11/2023</a:t>
            </a:fld>
            <a:endParaRPr lang="nl-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0F6258-B281-49EC-9D26-DA5F2F7B4208}" type="slidenum">
              <a:rPr lang="nl-BE" smtClean="0"/>
              <a:t>‹#›</a:t>
            </a:fld>
            <a:endParaRPr lang="nl-BE"/>
          </a:p>
        </p:txBody>
      </p:sp>
    </p:spTree>
    <p:extLst>
      <p:ext uri="{BB962C8B-B14F-4D97-AF65-F5344CB8AC3E}">
        <p14:creationId xmlns:p14="http://schemas.microsoft.com/office/powerpoint/2010/main" val="181233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18</a:t>
            </a:fld>
            <a:endParaRPr lang="nl-BE"/>
          </a:p>
        </p:txBody>
      </p:sp>
    </p:spTree>
    <p:extLst>
      <p:ext uri="{BB962C8B-B14F-4D97-AF65-F5344CB8AC3E}">
        <p14:creationId xmlns:p14="http://schemas.microsoft.com/office/powerpoint/2010/main" val="1540848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latin typeface="Segoe UI" panose="020B0502040204020203" pitchFamily="34" charset="0"/>
              </a:rPr>
              <a:t>Through the online editor, you can also execute simple SQL queries. These queries can be saved as view with just a click or saved as SQL code directly in the current workspace. This feature works for both types of warehouses.</a:t>
            </a:r>
            <a:br>
              <a:rPr lang="en-US" b="0" i="0">
                <a:solidFill>
                  <a:srgbClr val="161616"/>
                </a:solidFill>
                <a:effectLst/>
                <a:latin typeface="Segoe UI" panose="020B0502040204020203" pitchFamily="34" charset="0"/>
              </a:rPr>
            </a:br>
            <a:r>
              <a:rPr lang="en-US" b="0" i="0">
                <a:solidFill>
                  <a:srgbClr val="161616"/>
                </a:solidFill>
                <a:effectLst/>
                <a:latin typeface="Segoe UI" panose="020B0502040204020203" pitchFamily="34" charset="0"/>
              </a:rPr>
              <a:t>You can also create stored procedures that could be useful for querying or for some data ingestion cases. </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24/2023 11:0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853060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rrogate keys are announced to be in the pipeline for Q1 2024</a:t>
            </a:r>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29</a:t>
            </a:fld>
            <a:endParaRPr lang="nl-BE"/>
          </a:p>
        </p:txBody>
      </p:sp>
    </p:spTree>
    <p:extLst>
      <p:ext uri="{BB962C8B-B14F-4D97-AF65-F5344CB8AC3E}">
        <p14:creationId xmlns:p14="http://schemas.microsoft.com/office/powerpoint/2010/main" val="2497066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31</a:t>
            </a:fld>
            <a:endParaRPr lang="nl-BE"/>
          </a:p>
        </p:txBody>
      </p:sp>
    </p:spTree>
    <p:extLst>
      <p:ext uri="{BB962C8B-B14F-4D97-AF65-F5344CB8AC3E}">
        <p14:creationId xmlns:p14="http://schemas.microsoft.com/office/powerpoint/2010/main" val="3136886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r copy into</a:t>
            </a:r>
            <a:endParaRPr lang="nl-BE" dirty="0"/>
          </a:p>
        </p:txBody>
      </p:sp>
      <p:sp>
        <p:nvSpPr>
          <p:cNvPr id="4" name="Slide Number Placeholder 3"/>
          <p:cNvSpPr>
            <a:spLocks noGrp="1"/>
          </p:cNvSpPr>
          <p:nvPr>
            <p:ph type="sldNum" sz="quarter" idx="5"/>
          </p:nvPr>
        </p:nvSpPr>
        <p:spPr/>
        <p:txBody>
          <a:bodyPr/>
          <a:lstStyle/>
          <a:p>
            <a:fld id="{670F6258-B281-49EC-9D26-DA5F2F7B4208}" type="slidenum">
              <a:rPr lang="nl-BE" smtClean="0"/>
              <a:t>37</a:t>
            </a:fld>
            <a:endParaRPr lang="nl-BE"/>
          </a:p>
        </p:txBody>
      </p:sp>
    </p:spTree>
    <p:extLst>
      <p:ext uri="{BB962C8B-B14F-4D97-AF65-F5344CB8AC3E}">
        <p14:creationId xmlns:p14="http://schemas.microsoft.com/office/powerpoint/2010/main" val="2754437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R" sz="1200" dirty="0">
                <a:latin typeface="Segoe UI"/>
                <a:cs typeface="Segoe UI"/>
              </a:rPr>
              <a:t>SynapseML is an open-source Apache Spark library for machine learning. It enables Machine Learning at scale with distributed training of models and support for MLFlow. </a:t>
            </a:r>
            <a:endParaRPr lang="en-US" dirty="0"/>
          </a:p>
          <a:p>
            <a:endParaRPr lang="en-FR" sz="1200" dirty="0">
              <a:latin typeface="Segoe UI"/>
              <a:cs typeface="Segoe UI"/>
            </a:endParaRPr>
          </a:p>
          <a:p>
            <a:r>
              <a:rPr lang="en-FR" sz="1200" dirty="0">
                <a:latin typeface="Segoe UI"/>
                <a:cs typeface="Segoe UI"/>
              </a:rPr>
              <a:t>SynapseML includes integrations with ready to use Machine learning services like Azure Cognitive Services for vision, speech, language processing and translation.</a:t>
            </a:r>
            <a:endParaRPr lang="en-FR" sz="1200" dirty="0">
              <a:cs typeface="Segoe UI"/>
            </a:endParaRPr>
          </a:p>
          <a:p>
            <a:r>
              <a:rPr lang="en-FR" sz="1200" dirty="0">
                <a:latin typeface="Segoe UI"/>
                <a:cs typeface="Segoe UI"/>
              </a:rPr>
              <a:t>It also includes support for Azure OpenAI to enable access to large language models that are fine tuned and ready to use without any pain.</a:t>
            </a:r>
            <a:endParaRPr lang="en-FR" sz="1200" dirty="0">
              <a:cs typeface="Segoe UI"/>
            </a:endParaRPr>
          </a:p>
          <a:p>
            <a:endParaRPr lang="en-US" sz="1200" dirty="0">
              <a:latin typeface="Segoe UI"/>
              <a:cs typeface="Segoe UI"/>
            </a:endParaRPr>
          </a:p>
          <a:p>
            <a:r>
              <a:rPr lang="en-US" sz="1200" dirty="0">
                <a:latin typeface="Segoe UI"/>
                <a:cs typeface="Segoe UI"/>
              </a:rPr>
              <a:t>And of course Microsoft Fabric will also be powered by AI. One of the most exciting upcoming features is the copilot experience, which will leverage natural language processing support to do analytics and generate data preparation tasks on Notebooks.</a:t>
            </a:r>
            <a:endParaRPr lang="en-FR" sz="1200" dirty="0">
              <a:latin typeface="Segoe UI"/>
              <a:cs typeface="Segoe UI"/>
            </a:endParaRPr>
          </a:p>
        </p:txBody>
      </p:sp>
      <p:sp>
        <p:nvSpPr>
          <p:cNvPr id="4" name="Slide Number Placeholder 3"/>
          <p:cNvSpPr>
            <a:spLocks noGrp="1"/>
          </p:cNvSpPr>
          <p:nvPr>
            <p:ph type="sldNum" sz="quarter" idx="5"/>
          </p:nvPr>
        </p:nvSpPr>
        <p:spPr/>
        <p:txBody>
          <a:bodyPr/>
          <a:lstStyle/>
          <a:p>
            <a:fld id="{670F6258-B281-49EC-9D26-DA5F2F7B4208}" type="slidenum">
              <a:rPr lang="nl-BE" smtClean="0"/>
              <a:t>43</a:t>
            </a:fld>
            <a:endParaRPr lang="nl-BE"/>
          </a:p>
        </p:txBody>
      </p:sp>
    </p:spTree>
    <p:extLst>
      <p:ext uri="{BB962C8B-B14F-4D97-AF65-F5344CB8AC3E}">
        <p14:creationId xmlns:p14="http://schemas.microsoft.com/office/powerpoint/2010/main" val="2944078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26E4462-5B2D-43A4-9836-48526B6DECBF}"/>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hthoek 12">
            <a:extLst>
              <a:ext uri="{FF2B5EF4-FFF2-40B4-BE49-F238E27FC236}">
                <a16:creationId xmlns:a16="http://schemas.microsoft.com/office/drawing/2014/main" id="{EBA0C01F-B0FB-46DC-B5A8-B8DDF50AAA26}"/>
              </a:ext>
            </a:extLst>
          </p:cNvPr>
          <p:cNvSpPr/>
          <p:nvPr/>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bg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3682" y="5447542"/>
            <a:ext cx="2038111" cy="972414"/>
          </a:xfrm>
          <a:prstGeom prst="rect">
            <a:avLst/>
          </a:prstGeom>
        </p:spPr>
      </p:pic>
    </p:spTree>
    <p:extLst>
      <p:ext uri="{BB962C8B-B14F-4D97-AF65-F5344CB8AC3E}">
        <p14:creationId xmlns:p14="http://schemas.microsoft.com/office/powerpoint/2010/main" val="38579882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W_Table of Content - 4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7FC2D5-D9E3-473F-A8C6-B31EEF67DF3C}"/>
              </a:ext>
            </a:extLst>
          </p:cNvPr>
          <p:cNvGraphicFramePr>
            <a:graphicFrameLocks noChangeAspect="1"/>
          </p:cNvGraphicFramePr>
          <p:nvPr>
            <p:custDataLst>
              <p:tags r:id="rId1"/>
            </p:custDataLst>
            <p:extLst>
              <p:ext uri="{D42A27DB-BD31-4B8C-83A1-F6EECF244321}">
                <p14:modId xmlns:p14="http://schemas.microsoft.com/office/powerpoint/2010/main" val="172126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8C7FC2D5-D9E3-473F-A8C6-B31EEF67DF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5F707CC9-8CF8-44D2-93B4-181A7099C479}"/>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DC59A54C-02E1-4A74-82E4-B0708FDBC116}"/>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54975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W_Table of Content - 5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97D345-4962-4F7E-A5F5-274B1BF3AA8D}"/>
              </a:ext>
            </a:extLst>
          </p:cNvPr>
          <p:cNvGraphicFramePr>
            <a:graphicFrameLocks noChangeAspect="1"/>
          </p:cNvGraphicFramePr>
          <p:nvPr>
            <p:custDataLst>
              <p:tags r:id="rId1"/>
            </p:custDataLst>
            <p:extLst>
              <p:ext uri="{D42A27DB-BD31-4B8C-83A1-F6EECF244321}">
                <p14:modId xmlns:p14="http://schemas.microsoft.com/office/powerpoint/2010/main" val="110359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FD97D345-4962-4F7E-A5F5-274B1BF3AA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76CD5684-C2E6-4D89-B49C-8683F82B7AAC}"/>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Vrije vorm: vorm 14">
            <a:extLst>
              <a:ext uri="{FF2B5EF4-FFF2-40B4-BE49-F238E27FC236}">
                <a16:creationId xmlns:a16="http://schemas.microsoft.com/office/drawing/2014/main" id="{148FA715-82B0-43C1-8939-9D262E2BB787}"/>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2186813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W_Table of Content - 6 op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292C25-C9F4-4555-BCBE-9E956597F4B0}"/>
              </a:ext>
            </a:extLst>
          </p:cNvPr>
          <p:cNvGraphicFramePr>
            <a:graphicFrameLocks noChangeAspect="1"/>
          </p:cNvGraphicFramePr>
          <p:nvPr>
            <p:custDataLst>
              <p:tags r:id="rId1"/>
            </p:custDataLst>
            <p:extLst>
              <p:ext uri="{D42A27DB-BD31-4B8C-83A1-F6EECF244321}">
                <p14:modId xmlns:p14="http://schemas.microsoft.com/office/powerpoint/2010/main" val="988640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F292C25-C9F4-4555-BCBE-9E956597F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hoek 15">
            <a:extLst>
              <a:ext uri="{FF2B5EF4-FFF2-40B4-BE49-F238E27FC236}">
                <a16:creationId xmlns:a16="http://schemas.microsoft.com/office/drawing/2014/main" id="{CE4302FF-B4C8-4D37-B296-F48B7B0A1E48}"/>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C88F13C7-8F91-4C5C-A916-DE8BEA02EB81}"/>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accent2"/>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accent2"/>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178783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_Table of Content - 4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E482F4-6C4E-4672-B9BE-FCF484C0A4EF}"/>
              </a:ext>
            </a:extLst>
          </p:cNvPr>
          <p:cNvGraphicFramePr>
            <a:graphicFrameLocks noChangeAspect="1"/>
          </p:cNvGraphicFramePr>
          <p:nvPr>
            <p:custDataLst>
              <p:tags r:id="rId1"/>
            </p:custDataLst>
            <p:extLst>
              <p:ext uri="{D42A27DB-BD31-4B8C-83A1-F6EECF244321}">
                <p14:modId xmlns:p14="http://schemas.microsoft.com/office/powerpoint/2010/main" val="27284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87E482F4-6C4E-4672-B9BE-FCF484C0A4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74A94802-ABCB-4693-B6BB-6BA1B3823344}"/>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2FF8BBAB-9E59-42B5-8223-87DDFA334CD0}"/>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85153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_Table of Content - 5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99A0EF-4D88-4718-B39E-D6F618274A55}"/>
              </a:ext>
            </a:extLst>
          </p:cNvPr>
          <p:cNvGraphicFramePr>
            <a:graphicFrameLocks noChangeAspect="1"/>
          </p:cNvGraphicFramePr>
          <p:nvPr>
            <p:custDataLst>
              <p:tags r:id="rId1"/>
            </p:custDataLst>
            <p:extLst>
              <p:ext uri="{D42A27DB-BD31-4B8C-83A1-F6EECF244321}">
                <p14:modId xmlns:p14="http://schemas.microsoft.com/office/powerpoint/2010/main" val="2094777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599A0EF-4D88-4718-B39E-D6F618274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hoek 13">
            <a:extLst>
              <a:ext uri="{FF2B5EF4-FFF2-40B4-BE49-F238E27FC236}">
                <a16:creationId xmlns:a16="http://schemas.microsoft.com/office/drawing/2014/main" id="{B811AA18-1656-43EE-BA32-2FB90475C8B6}"/>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Vrije vorm: vorm 14">
            <a:extLst>
              <a:ext uri="{FF2B5EF4-FFF2-40B4-BE49-F238E27FC236}">
                <a16:creationId xmlns:a16="http://schemas.microsoft.com/office/drawing/2014/main" id="{F9D31045-6744-4BD0-AFA1-B78E79FAAA15}"/>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290672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_Table of Content - 6 option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94E4B2-A3DD-429A-9CE5-91DE4FAFD0F2}"/>
              </a:ext>
            </a:extLst>
          </p:cNvPr>
          <p:cNvGraphicFramePr>
            <a:graphicFrameLocks noChangeAspect="1"/>
          </p:cNvGraphicFramePr>
          <p:nvPr>
            <p:custDataLst>
              <p:tags r:id="rId1"/>
            </p:custDataLst>
            <p:extLst>
              <p:ext uri="{D42A27DB-BD31-4B8C-83A1-F6EECF244321}">
                <p14:modId xmlns:p14="http://schemas.microsoft.com/office/powerpoint/2010/main" val="122269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A794E4B2-A3DD-429A-9CE5-91DE4FAFD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hoek 15">
            <a:extLst>
              <a:ext uri="{FF2B5EF4-FFF2-40B4-BE49-F238E27FC236}">
                <a16:creationId xmlns:a16="http://schemas.microsoft.com/office/drawing/2014/main" id="{5CA179D3-E01C-43D9-B806-74C5BB2554A6}"/>
              </a:ext>
            </a:extLst>
          </p:cNvPr>
          <p:cNvSpPr/>
          <p:nvPr/>
        </p:nvSpPr>
        <p:spPr>
          <a:xfrm rot="7786244" flipH="1" flipV="1">
            <a:off x="3470245" y="-2965029"/>
            <a:ext cx="1976529" cy="643273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Vrije vorm: vorm 16">
            <a:extLst>
              <a:ext uri="{FF2B5EF4-FFF2-40B4-BE49-F238E27FC236}">
                <a16:creationId xmlns:a16="http://schemas.microsoft.com/office/drawing/2014/main" id="{1EEB5305-9005-42E8-B481-2C021299C7E6}"/>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vert="horz" anchor="t">
            <a:noAutofit/>
          </a:bodyPr>
          <a:lstStyle>
            <a:lvl1pPr algn="l">
              <a:defRPr sz="5400" b="0">
                <a:solidFill>
                  <a:schemeClr val="bg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247183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2533A85A-2FC9-45B2-8CDF-E90C40448696}"/>
              </a:ext>
            </a:extLst>
          </p:cNvPr>
          <p:cNvSpPr>
            <a:spLocks noGrp="1"/>
          </p:cNvSpPr>
          <p:nvPr>
            <p:ph type="pic" sz="quarter" idx="10"/>
          </p:nvPr>
        </p:nvSpPr>
        <p:spPr>
          <a:xfrm>
            <a:off x="0" y="0"/>
            <a:ext cx="12192000" cy="6858000"/>
          </a:xfrm>
          <a:solidFill>
            <a:schemeClr val="bg1">
              <a:lumMod val="95000"/>
            </a:schemeClr>
          </a:solidFill>
        </p:spPr>
        <p:txBody>
          <a:bodyPr anchor="ctr">
            <a:normAutofit/>
          </a:bodyPr>
          <a:lstStyle>
            <a:lvl1pPr marL="0" indent="0" algn="ctr">
              <a:buNone/>
              <a:defRPr sz="2000"/>
            </a:lvl1pPr>
          </a:lstStyle>
          <a:p>
            <a:r>
              <a:rPr lang="en-US"/>
              <a:t>Click icon to add picture</a:t>
            </a:r>
            <a:endParaRPr lang="en-GB"/>
          </a:p>
        </p:txBody>
      </p:sp>
      <p:sp>
        <p:nvSpPr>
          <p:cNvPr id="8" name="Tijdelijke aanduiding voor tekst 7">
            <a:extLst>
              <a:ext uri="{FF2B5EF4-FFF2-40B4-BE49-F238E27FC236}">
                <a16:creationId xmlns:a16="http://schemas.microsoft.com/office/drawing/2014/main" id="{E95E788A-50AD-4514-BC54-028050507FDA}"/>
              </a:ext>
            </a:extLst>
          </p:cNvPr>
          <p:cNvSpPr>
            <a:spLocks noGrp="1"/>
          </p:cNvSpPr>
          <p:nvPr>
            <p:ph type="body" sz="quarter" idx="11"/>
          </p:nvPr>
        </p:nvSpPr>
        <p:spPr>
          <a:xfrm>
            <a:off x="7618413" y="327025"/>
            <a:ext cx="6192837" cy="62103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13" name="Tijdelijke aanduiding voor tekst 12">
            <a:extLst>
              <a:ext uri="{FF2B5EF4-FFF2-40B4-BE49-F238E27FC236}">
                <a16:creationId xmlns:a16="http://schemas.microsoft.com/office/drawing/2014/main" id="{FE22822F-BD4D-4845-B708-F45C72C53F32}"/>
              </a:ext>
            </a:extLst>
          </p:cNvPr>
          <p:cNvSpPr>
            <a:spLocks noGrp="1"/>
          </p:cNvSpPr>
          <p:nvPr>
            <p:ph type="body" sz="quarter" idx="12"/>
          </p:nvPr>
        </p:nvSpPr>
        <p:spPr>
          <a:xfrm>
            <a:off x="0" y="3873500"/>
            <a:ext cx="4573588" cy="2382838"/>
          </a:xfrm>
          <a:blipFill dpi="0" rotWithShape="1">
            <a:blip r:embed="rId4">
              <a:alphaModFix amt="75000"/>
              <a:extLst>
                <a:ext uri="{96DAC541-7B7A-43D3-8B79-37D633B846F1}">
                  <asvg:svgBlip xmlns:asvg="http://schemas.microsoft.com/office/drawing/2016/SVG/main" r:embed="rId5"/>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5" name="Rechthoek 4">
            <a:extLst>
              <a:ext uri="{FF2B5EF4-FFF2-40B4-BE49-F238E27FC236}">
                <a16:creationId xmlns:a16="http://schemas.microsoft.com/office/drawing/2014/main" id="{4C45A95E-C2CC-46EA-8568-0359F1713A24}"/>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BBC9316F-DE19-4F7B-9FF8-4D388DEC6454}"/>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0AFBC154-7F41-44D5-92DE-6E27A149AAF7}"/>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9" name="Groep 8">
            <a:extLst>
              <a:ext uri="{FF2B5EF4-FFF2-40B4-BE49-F238E27FC236}">
                <a16:creationId xmlns:a16="http://schemas.microsoft.com/office/drawing/2014/main" id="{819669DF-D7E3-4D77-82E4-9C2DBBA706BE}"/>
              </a:ext>
            </a:extLst>
          </p:cNvPr>
          <p:cNvGrpSpPr/>
          <p:nvPr/>
        </p:nvGrpSpPr>
        <p:grpSpPr>
          <a:xfrm>
            <a:off x="-1425490" y="845069"/>
            <a:ext cx="250379" cy="249771"/>
            <a:chOff x="-706740" y="145633"/>
            <a:chExt cx="250379" cy="249771"/>
          </a:xfrm>
        </p:grpSpPr>
        <p:sp>
          <p:nvSpPr>
            <p:cNvPr id="10" name="Rechthoek 9">
              <a:extLst>
                <a:ext uri="{FF2B5EF4-FFF2-40B4-BE49-F238E27FC236}">
                  <a16:creationId xmlns:a16="http://schemas.microsoft.com/office/drawing/2014/main" id="{8564E26F-4A2E-4FBC-8126-6BCDD3E8B78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Gelijkbenige driehoek 128">
              <a:extLst>
                <a:ext uri="{FF2B5EF4-FFF2-40B4-BE49-F238E27FC236}">
                  <a16:creationId xmlns:a16="http://schemas.microsoft.com/office/drawing/2014/main" id="{65C2DE8C-DE7D-4ECB-B620-D2B5F2DA75AC}"/>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Ovaal 11">
              <a:extLst>
                <a:ext uri="{FF2B5EF4-FFF2-40B4-BE49-F238E27FC236}">
                  <a16:creationId xmlns:a16="http://schemas.microsoft.com/office/drawing/2014/main" id="{93D33FAC-9D2E-4EB4-8480-982449AF26F5}"/>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10806B96-CA59-44C7-AADC-1D22BE410F71}"/>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C15C0B59-108B-42A3-8EAD-ED68CC63916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B0BDFA73-D4D7-4F7C-BB1F-DF3660CA56D2}"/>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AB41DFDC-C49A-41E6-8174-6F7883D84782}"/>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53CED02E-F453-4DCC-B3A9-0FA96161F370}"/>
              </a:ext>
            </a:extLst>
          </p:cNvPr>
          <p:cNvGrpSpPr/>
          <p:nvPr/>
        </p:nvGrpSpPr>
        <p:grpSpPr>
          <a:xfrm>
            <a:off x="-1073403" y="845068"/>
            <a:ext cx="252000" cy="216024"/>
            <a:chOff x="-932185" y="5325334"/>
            <a:chExt cx="252000" cy="216024"/>
          </a:xfrm>
        </p:grpSpPr>
        <p:sp>
          <p:nvSpPr>
            <p:cNvPr id="19" name="Rechthoek 18">
              <a:extLst>
                <a:ext uri="{FF2B5EF4-FFF2-40B4-BE49-F238E27FC236}">
                  <a16:creationId xmlns:a16="http://schemas.microsoft.com/office/drawing/2014/main" id="{424BD2CC-5F42-44A9-A65F-7A879310DACD}"/>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08A9A0F5-E6C5-4C2F-B50C-7EEB86B35629}"/>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01E6F482-6501-4474-B9EC-10B4ABF4652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63C49633-9AE5-4A08-B118-78992F6D3840}"/>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3BE7E48A-0398-45B0-A5B0-5BBE930298B2}"/>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AB404A70-F92C-4418-8441-0538B0315BB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305AC270-A727-4B0B-B713-1200D780F5BB}"/>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A672539A-60CC-49CC-9828-DCC8CE5DC326}"/>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E5EEC206-3BAE-4711-B315-F72A2FB9DBE0}"/>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F7C2539D-CEB9-440B-BC0B-D83699ED6A5A}"/>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FF67400B-144E-4D86-9B27-EC178C5EDC7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FE42F680-A181-4DE7-83A4-3A85435AF4F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9DD07A1E-492C-48A5-9EC6-7A16D8FC79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C2773C3-A17A-4D3A-BAD5-5A379A5F278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7FD2B9CF-86FB-420B-82C4-CAEC746FABA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4C129854-2A20-4740-885B-43DF2BA3803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E49A6CDE-592B-4894-AE4A-0A755A4B890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6AE7F32-77BE-4B68-B9DE-8E3C6C9B4D09}"/>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35003097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Image + text">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2533A85A-2FC9-45B2-8CDF-E90C40448696}"/>
              </a:ext>
            </a:extLst>
          </p:cNvPr>
          <p:cNvSpPr>
            <a:spLocks noGrp="1"/>
          </p:cNvSpPr>
          <p:nvPr>
            <p:ph type="pic" sz="quarter" idx="10"/>
          </p:nvPr>
        </p:nvSpPr>
        <p:spPr>
          <a:xfrm>
            <a:off x="0" y="0"/>
            <a:ext cx="12192000" cy="6858000"/>
          </a:xfrm>
          <a:solidFill>
            <a:schemeClr val="bg1">
              <a:lumMod val="95000"/>
            </a:schemeClr>
          </a:solidFill>
        </p:spPr>
        <p:txBody>
          <a:bodyPr anchor="ctr">
            <a:normAutofit/>
          </a:bodyPr>
          <a:lstStyle>
            <a:lvl1pPr marL="0" indent="0" algn="ctr">
              <a:buNone/>
              <a:defRPr sz="2000"/>
            </a:lvl1pPr>
          </a:lstStyle>
          <a:p>
            <a:r>
              <a:rPr lang="en-US"/>
              <a:t>Click icon to add picture</a:t>
            </a:r>
            <a:endParaRPr lang="en-GB"/>
          </a:p>
        </p:txBody>
      </p:sp>
      <p:sp>
        <p:nvSpPr>
          <p:cNvPr id="8" name="Tijdelijke aanduiding voor tekst 7">
            <a:extLst>
              <a:ext uri="{FF2B5EF4-FFF2-40B4-BE49-F238E27FC236}">
                <a16:creationId xmlns:a16="http://schemas.microsoft.com/office/drawing/2014/main" id="{E95E788A-50AD-4514-BC54-028050507FDA}"/>
              </a:ext>
            </a:extLst>
          </p:cNvPr>
          <p:cNvSpPr>
            <a:spLocks noGrp="1"/>
          </p:cNvSpPr>
          <p:nvPr>
            <p:ph type="body" sz="quarter" idx="11"/>
          </p:nvPr>
        </p:nvSpPr>
        <p:spPr>
          <a:xfrm>
            <a:off x="7618413" y="327025"/>
            <a:ext cx="6192837" cy="62103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13" name="Tijdelijke aanduiding voor tekst 12">
            <a:extLst>
              <a:ext uri="{FF2B5EF4-FFF2-40B4-BE49-F238E27FC236}">
                <a16:creationId xmlns:a16="http://schemas.microsoft.com/office/drawing/2014/main" id="{FE22822F-BD4D-4845-B708-F45C72C53F32}"/>
              </a:ext>
            </a:extLst>
          </p:cNvPr>
          <p:cNvSpPr>
            <a:spLocks noGrp="1"/>
          </p:cNvSpPr>
          <p:nvPr>
            <p:ph type="body" sz="quarter" idx="12"/>
          </p:nvPr>
        </p:nvSpPr>
        <p:spPr>
          <a:xfrm>
            <a:off x="0" y="3873500"/>
            <a:ext cx="4573588" cy="2382838"/>
          </a:xfrm>
          <a:blipFill dpi="0" rotWithShape="1">
            <a:blip r:embed="rId4">
              <a:alphaModFix amt="75000"/>
              <a:extLst>
                <a:ext uri="{96DAC541-7B7A-43D3-8B79-37D633B846F1}">
                  <asvg:svgBlip xmlns:asvg="http://schemas.microsoft.com/office/drawing/2016/SVG/main" r:embed="rId5"/>
                </a:ext>
              </a:extLst>
            </a:blip>
            <a:srcRect/>
            <a:stretch>
              <a:fillRect/>
            </a:stretch>
          </a:blipFill>
        </p:spPr>
        <p:txBody>
          <a:bodyPr>
            <a:normAutofit/>
          </a:bodyPr>
          <a:lstStyle>
            <a:lvl1pPr marL="0" indent="0">
              <a:buNone/>
              <a:defRPr sz="100">
                <a:noFill/>
              </a:defRPr>
            </a:lvl1pPr>
          </a:lstStyle>
          <a:p>
            <a:pPr lvl="0"/>
            <a:r>
              <a:rPr lang="en-US"/>
              <a:t>Click to edit Master text styles</a:t>
            </a:r>
          </a:p>
        </p:txBody>
      </p:sp>
      <p:sp>
        <p:nvSpPr>
          <p:cNvPr id="5" name="Rechthoek 4">
            <a:extLst>
              <a:ext uri="{FF2B5EF4-FFF2-40B4-BE49-F238E27FC236}">
                <a16:creationId xmlns:a16="http://schemas.microsoft.com/office/drawing/2014/main" id="{4C45A95E-C2CC-46EA-8568-0359F1713A24}"/>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BBC9316F-DE19-4F7B-9FF8-4D388DEC6454}"/>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0AFBC154-7F41-44D5-92DE-6E27A149AAF7}"/>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9" name="Groep 8">
            <a:extLst>
              <a:ext uri="{FF2B5EF4-FFF2-40B4-BE49-F238E27FC236}">
                <a16:creationId xmlns:a16="http://schemas.microsoft.com/office/drawing/2014/main" id="{819669DF-D7E3-4D77-82E4-9C2DBBA706BE}"/>
              </a:ext>
            </a:extLst>
          </p:cNvPr>
          <p:cNvGrpSpPr/>
          <p:nvPr/>
        </p:nvGrpSpPr>
        <p:grpSpPr>
          <a:xfrm>
            <a:off x="-1425490" y="845069"/>
            <a:ext cx="250379" cy="249771"/>
            <a:chOff x="-706740" y="145633"/>
            <a:chExt cx="250379" cy="249771"/>
          </a:xfrm>
        </p:grpSpPr>
        <p:sp>
          <p:nvSpPr>
            <p:cNvPr id="10" name="Rechthoek 9">
              <a:extLst>
                <a:ext uri="{FF2B5EF4-FFF2-40B4-BE49-F238E27FC236}">
                  <a16:creationId xmlns:a16="http://schemas.microsoft.com/office/drawing/2014/main" id="{8564E26F-4A2E-4FBC-8126-6BCDD3E8B78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Gelijkbenige driehoek 128">
              <a:extLst>
                <a:ext uri="{FF2B5EF4-FFF2-40B4-BE49-F238E27FC236}">
                  <a16:creationId xmlns:a16="http://schemas.microsoft.com/office/drawing/2014/main" id="{65C2DE8C-DE7D-4ECB-B620-D2B5F2DA75AC}"/>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Ovaal 11">
              <a:extLst>
                <a:ext uri="{FF2B5EF4-FFF2-40B4-BE49-F238E27FC236}">
                  <a16:creationId xmlns:a16="http://schemas.microsoft.com/office/drawing/2014/main" id="{93D33FAC-9D2E-4EB4-8480-982449AF26F5}"/>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10806B96-CA59-44C7-AADC-1D22BE410F71}"/>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C15C0B59-108B-42A3-8EAD-ED68CC63916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B0BDFA73-D4D7-4F7C-BB1F-DF3660CA56D2}"/>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AB41DFDC-C49A-41E6-8174-6F7883D84782}"/>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53CED02E-F453-4DCC-B3A9-0FA96161F370}"/>
              </a:ext>
            </a:extLst>
          </p:cNvPr>
          <p:cNvGrpSpPr/>
          <p:nvPr/>
        </p:nvGrpSpPr>
        <p:grpSpPr>
          <a:xfrm>
            <a:off x="-1073403" y="845068"/>
            <a:ext cx="252000" cy="216024"/>
            <a:chOff x="-932185" y="5325334"/>
            <a:chExt cx="252000" cy="216024"/>
          </a:xfrm>
        </p:grpSpPr>
        <p:sp>
          <p:nvSpPr>
            <p:cNvPr id="19" name="Rechthoek 18">
              <a:extLst>
                <a:ext uri="{FF2B5EF4-FFF2-40B4-BE49-F238E27FC236}">
                  <a16:creationId xmlns:a16="http://schemas.microsoft.com/office/drawing/2014/main" id="{424BD2CC-5F42-44A9-A65F-7A879310DACD}"/>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08A9A0F5-E6C5-4C2F-B50C-7EEB86B35629}"/>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01E6F482-6501-4474-B9EC-10B4ABF4652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63C49633-9AE5-4A08-B118-78992F6D3840}"/>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3BE7E48A-0398-45B0-A5B0-5BBE930298B2}"/>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AB404A70-F92C-4418-8441-0538B0315BB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305AC270-A727-4B0B-B713-1200D780F5BB}"/>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A672539A-60CC-49CC-9828-DCC8CE5DC326}"/>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E5EEC206-3BAE-4711-B315-F72A2FB9DBE0}"/>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F7C2539D-CEB9-440B-BC0B-D83699ED6A5A}"/>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FF67400B-144E-4D86-9B27-EC178C5EDC7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FE42F680-A181-4DE7-83A4-3A85435AF4F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9DD07A1E-492C-48A5-9EC6-7A16D8FC79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C2773C3-A17A-4D3A-BAD5-5A379A5F278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7FD2B9CF-86FB-420B-82C4-CAEC746FABA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4C129854-2A20-4740-885B-43DF2BA3803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E49A6CDE-592B-4894-AE4A-0A755A4B890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6AE7F32-77BE-4B68-B9DE-8E3C6C9B4D09}"/>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7" name="Titel 1">
            <a:extLst>
              <a:ext uri="{FF2B5EF4-FFF2-40B4-BE49-F238E27FC236}">
                <a16:creationId xmlns:a16="http://schemas.microsoft.com/office/drawing/2014/main" id="{C8BC8CF9-FA7C-4544-A54D-F44E028326BE}"/>
              </a:ext>
            </a:extLst>
          </p:cNvPr>
          <p:cNvSpPr>
            <a:spLocks noGrp="1"/>
          </p:cNvSpPr>
          <p:nvPr>
            <p:ph type="ctrTitle"/>
          </p:nvPr>
        </p:nvSpPr>
        <p:spPr>
          <a:xfrm>
            <a:off x="1094575" y="1796607"/>
            <a:ext cx="10002850" cy="3546454"/>
          </a:xfrm>
        </p:spPr>
        <p:txBody>
          <a:bodyPr anchor="ctr">
            <a:normAutofit/>
          </a:bodyPr>
          <a:lstStyle>
            <a:lvl1pPr algn="ctr">
              <a:defRPr sz="6600" b="0">
                <a:solidFill>
                  <a:schemeClr val="tx1"/>
                </a:solidFill>
                <a:latin typeface="+mn-lt"/>
              </a:defRPr>
            </a:lvl1pPr>
          </a:lstStyle>
          <a:p>
            <a:r>
              <a:rPr lang="en-US"/>
              <a:t>Click to edit Master title style</a:t>
            </a:r>
            <a:endParaRPr lang="en-GB" dirty="0"/>
          </a:p>
        </p:txBody>
      </p:sp>
    </p:spTree>
    <p:extLst>
      <p:ext uri="{BB962C8B-B14F-4D97-AF65-F5344CB8AC3E}">
        <p14:creationId xmlns:p14="http://schemas.microsoft.com/office/powerpoint/2010/main" val="3535559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1094575" y="1796607"/>
            <a:ext cx="10002850" cy="3546454"/>
          </a:xfrm>
        </p:spPr>
        <p:txBody>
          <a:bodyPr anchor="ctr">
            <a:normAutofit/>
          </a:bodyPr>
          <a:lstStyle>
            <a:lvl1pPr algn="ctr">
              <a:defRPr sz="6600" b="0">
                <a:solidFill>
                  <a:schemeClr val="tx1"/>
                </a:solidFill>
                <a:latin typeface="+mn-lt"/>
              </a:defRPr>
            </a:lvl1pPr>
          </a:lstStyle>
          <a:p>
            <a:r>
              <a:rPr lang="en-US"/>
              <a:t>Click to edit Master title style</a:t>
            </a:r>
            <a:endParaRPr lang="en-GB" dirty="0"/>
          </a:p>
        </p:txBody>
      </p:sp>
      <p:grpSp>
        <p:nvGrpSpPr>
          <p:cNvPr id="5" name="Groep 4">
            <a:extLst>
              <a:ext uri="{FF2B5EF4-FFF2-40B4-BE49-F238E27FC236}">
                <a16:creationId xmlns:a16="http://schemas.microsoft.com/office/drawing/2014/main" id="{384BECF5-53E0-4E37-A2FD-4FADC16ED0E7}"/>
              </a:ext>
            </a:extLst>
          </p:cNvPr>
          <p:cNvGrpSpPr/>
          <p:nvPr/>
        </p:nvGrpSpPr>
        <p:grpSpPr>
          <a:xfrm>
            <a:off x="1094575" y="1023520"/>
            <a:ext cx="531586" cy="773087"/>
            <a:chOff x="2454442" y="-2952785"/>
            <a:chExt cx="1732547" cy="2519648"/>
          </a:xfrm>
        </p:grpSpPr>
        <p:sp>
          <p:nvSpPr>
            <p:cNvPr id="4" name="Ovaal 3">
              <a:extLst>
                <a:ext uri="{FF2B5EF4-FFF2-40B4-BE49-F238E27FC236}">
                  <a16:creationId xmlns:a16="http://schemas.microsoft.com/office/drawing/2014/main" id="{1FD1A683-AC9F-4D9B-911F-D563439442EA}"/>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hthoek 9">
              <a:extLst>
                <a:ext uri="{FF2B5EF4-FFF2-40B4-BE49-F238E27FC236}">
                  <a16:creationId xmlns:a16="http://schemas.microsoft.com/office/drawing/2014/main" id="{B0E219F1-4B1E-4B96-B178-3A95476D3A3F}"/>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9" name="Groep 8">
            <a:extLst>
              <a:ext uri="{FF2B5EF4-FFF2-40B4-BE49-F238E27FC236}">
                <a16:creationId xmlns:a16="http://schemas.microsoft.com/office/drawing/2014/main" id="{60CFD971-2A05-45CC-A0AB-0444E44BF3B9}"/>
              </a:ext>
            </a:extLst>
          </p:cNvPr>
          <p:cNvGrpSpPr/>
          <p:nvPr/>
        </p:nvGrpSpPr>
        <p:grpSpPr>
          <a:xfrm>
            <a:off x="1690733" y="1023520"/>
            <a:ext cx="531586" cy="773087"/>
            <a:chOff x="2454442" y="-2952785"/>
            <a:chExt cx="1732547" cy="2519648"/>
          </a:xfrm>
        </p:grpSpPr>
        <p:sp>
          <p:nvSpPr>
            <p:cNvPr id="11" name="Ovaal 10">
              <a:extLst>
                <a:ext uri="{FF2B5EF4-FFF2-40B4-BE49-F238E27FC236}">
                  <a16:creationId xmlns:a16="http://schemas.microsoft.com/office/drawing/2014/main" id="{B69F4864-4BF5-4942-979C-BB35A3A6E6CE}"/>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hthoek 11">
              <a:extLst>
                <a:ext uri="{FF2B5EF4-FFF2-40B4-BE49-F238E27FC236}">
                  <a16:creationId xmlns:a16="http://schemas.microsoft.com/office/drawing/2014/main" id="{D62331D1-0A42-401C-9504-E8CAD678C004}"/>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19" name="Groep 18">
            <a:extLst>
              <a:ext uri="{FF2B5EF4-FFF2-40B4-BE49-F238E27FC236}">
                <a16:creationId xmlns:a16="http://schemas.microsoft.com/office/drawing/2014/main" id="{16FDBB5D-B5ED-426A-9A8F-1B88526E57AF}"/>
              </a:ext>
            </a:extLst>
          </p:cNvPr>
          <p:cNvGrpSpPr/>
          <p:nvPr/>
        </p:nvGrpSpPr>
        <p:grpSpPr>
          <a:xfrm rot="10800000">
            <a:off x="9969681" y="5101560"/>
            <a:ext cx="531586" cy="773087"/>
            <a:chOff x="2454442" y="-2952785"/>
            <a:chExt cx="1732547" cy="2519648"/>
          </a:xfrm>
        </p:grpSpPr>
        <p:sp>
          <p:nvSpPr>
            <p:cNvPr id="20" name="Ovaal 19">
              <a:extLst>
                <a:ext uri="{FF2B5EF4-FFF2-40B4-BE49-F238E27FC236}">
                  <a16:creationId xmlns:a16="http://schemas.microsoft.com/office/drawing/2014/main" id="{835B65F9-201C-4194-8AD5-08E04775D194}"/>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hthoek 20">
              <a:extLst>
                <a:ext uri="{FF2B5EF4-FFF2-40B4-BE49-F238E27FC236}">
                  <a16:creationId xmlns:a16="http://schemas.microsoft.com/office/drawing/2014/main" id="{558631D9-427E-4740-8713-DB7F718CE615}"/>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grpSp>
        <p:nvGrpSpPr>
          <p:cNvPr id="22" name="Groep 21">
            <a:extLst>
              <a:ext uri="{FF2B5EF4-FFF2-40B4-BE49-F238E27FC236}">
                <a16:creationId xmlns:a16="http://schemas.microsoft.com/office/drawing/2014/main" id="{3B7D35E9-F615-4E7F-BEAF-23F733506A1A}"/>
              </a:ext>
            </a:extLst>
          </p:cNvPr>
          <p:cNvGrpSpPr/>
          <p:nvPr/>
        </p:nvGrpSpPr>
        <p:grpSpPr>
          <a:xfrm rot="10800000">
            <a:off x="10565839" y="5101560"/>
            <a:ext cx="531586" cy="773087"/>
            <a:chOff x="2454442" y="-2952785"/>
            <a:chExt cx="1732547" cy="2519648"/>
          </a:xfrm>
        </p:grpSpPr>
        <p:sp>
          <p:nvSpPr>
            <p:cNvPr id="23" name="Ovaal 22">
              <a:extLst>
                <a:ext uri="{FF2B5EF4-FFF2-40B4-BE49-F238E27FC236}">
                  <a16:creationId xmlns:a16="http://schemas.microsoft.com/office/drawing/2014/main" id="{C504B5E6-19FB-4DC9-9A16-DB90184C8556}"/>
                </a:ext>
              </a:extLst>
            </p:cNvPr>
            <p:cNvSpPr/>
            <p:nvPr userDrawn="1"/>
          </p:nvSpPr>
          <p:spPr>
            <a:xfrm>
              <a:off x="2454442" y="-2165684"/>
              <a:ext cx="1732547" cy="173254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hthoek 23">
              <a:extLst>
                <a:ext uri="{FF2B5EF4-FFF2-40B4-BE49-F238E27FC236}">
                  <a16:creationId xmlns:a16="http://schemas.microsoft.com/office/drawing/2014/main" id="{06B985C3-453D-47A3-AA54-361E2653BCAE}"/>
                </a:ext>
              </a:extLst>
            </p:cNvPr>
            <p:cNvSpPr/>
            <p:nvPr userDrawn="1"/>
          </p:nvSpPr>
          <p:spPr>
            <a:xfrm rot="2698839">
              <a:off x="3128815" y="-2952785"/>
              <a:ext cx="594258" cy="1503851"/>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spTree>
    <p:extLst>
      <p:ext uri="{BB962C8B-B14F-4D97-AF65-F5344CB8AC3E}">
        <p14:creationId xmlns:p14="http://schemas.microsoft.com/office/powerpoint/2010/main" val="31866556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3" name="Tijdelijke aanduiding voor inhoud 2">
            <a:extLst>
              <a:ext uri="{FF2B5EF4-FFF2-40B4-BE49-F238E27FC236}">
                <a16:creationId xmlns:a16="http://schemas.microsoft.com/office/drawing/2014/main" id="{694E7DFD-9748-436D-AFF6-A500368439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ijdelijke aanduiding voor voettekst 33">
            <a:extLst>
              <a:ext uri="{FF2B5EF4-FFF2-40B4-BE49-F238E27FC236}">
                <a16:creationId xmlns:a16="http://schemas.microsoft.com/office/drawing/2014/main" id="{5DDF9C03-4951-4166-A8F6-3E70A70AF31E}"/>
              </a:ext>
            </a:extLst>
          </p:cNvPr>
          <p:cNvSpPr>
            <a:spLocks noGrp="1"/>
          </p:cNvSpPr>
          <p:nvPr>
            <p:ph type="ftr" sz="quarter" idx="10"/>
          </p:nvPr>
        </p:nvSpPr>
        <p:spPr/>
        <p:txBody>
          <a:bodyPr/>
          <a:lstStyle/>
          <a:p>
            <a:r>
              <a:rPr lang="en-GB"/>
              <a:t>Template made by Smartpresentations</a:t>
            </a:r>
          </a:p>
        </p:txBody>
      </p:sp>
      <p:sp>
        <p:nvSpPr>
          <p:cNvPr id="35" name="Tijdelijke aanduiding voor dianummer 34">
            <a:extLst>
              <a:ext uri="{FF2B5EF4-FFF2-40B4-BE49-F238E27FC236}">
                <a16:creationId xmlns:a16="http://schemas.microsoft.com/office/drawing/2014/main" id="{77DDBD2A-AEC8-484D-BEA1-859A95B283D1}"/>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087318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W_Title">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EBA0C01F-B0FB-46DC-B5A8-B8DDF50AAA26}"/>
              </a:ext>
            </a:extLst>
          </p:cNvPr>
          <p:cNvSpPr/>
          <p:nvPr/>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tx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93682" y="5447542"/>
            <a:ext cx="2038111" cy="972413"/>
          </a:xfrm>
          <a:prstGeom prst="rect">
            <a:avLst/>
          </a:prstGeom>
        </p:spPr>
      </p:pic>
    </p:spTree>
    <p:extLst>
      <p:ext uri="{BB962C8B-B14F-4D97-AF65-F5344CB8AC3E}">
        <p14:creationId xmlns:p14="http://schemas.microsoft.com/office/powerpoint/2010/main" val="40851360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3" name="Tijdelijke aanduiding voor voettekst 2">
            <a:extLst>
              <a:ext uri="{FF2B5EF4-FFF2-40B4-BE49-F238E27FC236}">
                <a16:creationId xmlns:a16="http://schemas.microsoft.com/office/drawing/2014/main" id="{F25D3B4E-A54E-457D-8993-34E4AD67B236}"/>
              </a:ext>
            </a:extLst>
          </p:cNvPr>
          <p:cNvSpPr>
            <a:spLocks noGrp="1"/>
          </p:cNvSpPr>
          <p:nvPr>
            <p:ph type="ftr" sz="quarter" idx="1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6624631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creenshot_Laptop">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225AFBF-F52A-49C8-B0CD-DF61A26CB1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5005" y="1473072"/>
            <a:ext cx="9901989" cy="5088710"/>
          </a:xfrm>
          <a:prstGeom prst="rect">
            <a:avLst/>
          </a:prstGeom>
        </p:spPr>
      </p:pic>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
        <p:nvSpPr>
          <p:cNvPr id="8" name="Tijdelijke aanduiding voor afbeelding 7">
            <a:extLst>
              <a:ext uri="{FF2B5EF4-FFF2-40B4-BE49-F238E27FC236}">
                <a16:creationId xmlns:a16="http://schemas.microsoft.com/office/drawing/2014/main" id="{97EA2B5F-3320-4048-A85F-884DB5155CDC}"/>
              </a:ext>
            </a:extLst>
          </p:cNvPr>
          <p:cNvSpPr>
            <a:spLocks noGrp="1"/>
          </p:cNvSpPr>
          <p:nvPr>
            <p:ph type="pic" sz="quarter" idx="12"/>
          </p:nvPr>
        </p:nvSpPr>
        <p:spPr>
          <a:xfrm>
            <a:off x="2116720" y="1676350"/>
            <a:ext cx="7953712" cy="4511675"/>
          </a:xfr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Tree>
    <p:extLst>
      <p:ext uri="{BB962C8B-B14F-4D97-AF65-F5344CB8AC3E}">
        <p14:creationId xmlns:p14="http://schemas.microsoft.com/office/powerpoint/2010/main" val="37544932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creenshot_Laptop_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pic>
        <p:nvPicPr>
          <p:cNvPr id="6" name="Graphic 5">
            <a:extLst>
              <a:ext uri="{FF2B5EF4-FFF2-40B4-BE49-F238E27FC236}">
                <a16:creationId xmlns:a16="http://schemas.microsoft.com/office/drawing/2014/main" id="{BC7F96CD-2764-450F-AA30-67B24BB8745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8673"/>
          <a:stretch/>
        </p:blipFill>
        <p:spPr>
          <a:xfrm>
            <a:off x="0" y="1489416"/>
            <a:ext cx="6420704" cy="5087798"/>
          </a:xfrm>
          <a:prstGeom prst="rect">
            <a:avLst/>
          </a:prstGeom>
        </p:spPr>
      </p:pic>
      <p:sp>
        <p:nvSpPr>
          <p:cNvPr id="8" name="Tijdelijke aanduiding voor afbeelding 7">
            <a:extLst>
              <a:ext uri="{FF2B5EF4-FFF2-40B4-BE49-F238E27FC236}">
                <a16:creationId xmlns:a16="http://schemas.microsoft.com/office/drawing/2014/main" id="{97EA2B5F-3320-4048-A85F-884DB5155CDC}"/>
              </a:ext>
            </a:extLst>
          </p:cNvPr>
          <p:cNvSpPr>
            <a:spLocks noGrp="1"/>
          </p:cNvSpPr>
          <p:nvPr>
            <p:ph type="pic" sz="quarter" idx="12"/>
          </p:nvPr>
        </p:nvSpPr>
        <p:spPr>
          <a:xfrm>
            <a:off x="0" y="1689325"/>
            <a:ext cx="5418636" cy="4511675"/>
          </a:xfr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
        <p:nvSpPr>
          <p:cNvPr id="7" name="Tijdelijke aanduiding voor inhoud 2">
            <a:extLst>
              <a:ext uri="{FF2B5EF4-FFF2-40B4-BE49-F238E27FC236}">
                <a16:creationId xmlns:a16="http://schemas.microsoft.com/office/drawing/2014/main" id="{C975905F-291D-41F4-9D20-E9836EEEE51C}"/>
              </a:ext>
            </a:extLst>
          </p:cNvPr>
          <p:cNvSpPr>
            <a:spLocks noGrp="1"/>
          </p:cNvSpPr>
          <p:nvPr>
            <p:ph idx="1"/>
          </p:nvPr>
        </p:nvSpPr>
        <p:spPr>
          <a:xfrm>
            <a:off x="6096000" y="1457011"/>
            <a:ext cx="5257800"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359218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creenshot_Tablet">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97A6CC3C-00A7-481A-8B6F-8235AD2C90F4}"/>
              </a:ext>
            </a:extLst>
          </p:cNvPr>
          <p:cNvSpPr/>
          <p:nvPr/>
        </p:nvSpPr>
        <p:spPr>
          <a:xfrm rot="6016460">
            <a:off x="584673" y="1723641"/>
            <a:ext cx="1467460" cy="6345777"/>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pic>
        <p:nvPicPr>
          <p:cNvPr id="5" name="Graphic 4">
            <a:extLst>
              <a:ext uri="{FF2B5EF4-FFF2-40B4-BE49-F238E27FC236}">
                <a16:creationId xmlns:a16="http://schemas.microsoft.com/office/drawing/2014/main" id="{3853F8D9-64D3-450A-AC91-52966B910B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400000">
            <a:off x="3737284" y="588008"/>
            <a:ext cx="4717431" cy="6858000"/>
          </a:xfrm>
          <a:prstGeom prst="rect">
            <a:avLst/>
          </a:prstGeom>
        </p:spPr>
      </p:pic>
      <p:sp>
        <p:nvSpPr>
          <p:cNvPr id="10" name="Tijdelijke aanduiding voor afbeelding 7">
            <a:extLst>
              <a:ext uri="{FF2B5EF4-FFF2-40B4-BE49-F238E27FC236}">
                <a16:creationId xmlns:a16="http://schemas.microsoft.com/office/drawing/2014/main" id="{3B70AD41-2802-48D5-9D0D-573AD63EBDB9}"/>
              </a:ext>
            </a:extLst>
          </p:cNvPr>
          <p:cNvSpPr>
            <a:spLocks noGrp="1"/>
          </p:cNvSpPr>
          <p:nvPr>
            <p:ph type="pic" sz="quarter" idx="12"/>
          </p:nvPr>
        </p:nvSpPr>
        <p:spPr>
          <a:xfrm>
            <a:off x="2821073" y="1852863"/>
            <a:ext cx="6551528" cy="4331553"/>
          </a:xfrm>
          <a:prstGeom prst="roundRect">
            <a:avLst>
              <a:gd name="adj" fmla="val 8612"/>
            </a:avLst>
          </a:prstGeom>
          <a:solidFill>
            <a:schemeClr val="bg1">
              <a:lumMod val="95000"/>
            </a:schemeClr>
          </a:solidFill>
        </p:spPr>
        <p:txBody>
          <a:bodyPr anchor="ctr">
            <a:normAutofit/>
          </a:bodyPr>
          <a:lstStyle>
            <a:lvl1pPr marL="0" indent="0" algn="ctr">
              <a:buFont typeface="Arial" panose="020B0604020202020204" pitchFamily="34" charset="0"/>
              <a:buNone/>
              <a:defRPr sz="2000"/>
            </a:lvl1pPr>
          </a:lstStyle>
          <a:p>
            <a:r>
              <a:rPr lang="en-US"/>
              <a:t>Click icon to add picture</a:t>
            </a:r>
            <a:endParaRPr lang="en-GB"/>
          </a:p>
        </p:txBody>
      </p:sp>
    </p:spTree>
    <p:extLst>
      <p:ext uri="{BB962C8B-B14F-4D97-AF65-F5344CB8AC3E}">
        <p14:creationId xmlns:p14="http://schemas.microsoft.com/office/powerpoint/2010/main" val="2662326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wo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357BF-4995-47EA-844F-0CB0BA3F1D96}"/>
              </a:ext>
            </a:extLst>
          </p:cNvPr>
          <p:cNvSpPr>
            <a:spLocks noGrp="1"/>
          </p:cNvSpPr>
          <p:nvPr>
            <p:ph type="title"/>
          </p:nvPr>
        </p:nvSpPr>
        <p:spPr/>
        <p:txBody>
          <a:bodyPr/>
          <a:lstStyle>
            <a:lvl1pPr>
              <a:defRPr b="0"/>
            </a:lvl1pPr>
          </a:lstStyle>
          <a:p>
            <a:r>
              <a:rPr lang="en-US"/>
              <a:t>Click to edit Master title style</a:t>
            </a:r>
            <a:endParaRPr lang="en-GB"/>
          </a:p>
        </p:txBody>
      </p:sp>
      <p:sp>
        <p:nvSpPr>
          <p:cNvPr id="3" name="Tijdelijke aanduiding voor inhoud 2">
            <a:extLst>
              <a:ext uri="{FF2B5EF4-FFF2-40B4-BE49-F238E27FC236}">
                <a16:creationId xmlns:a16="http://schemas.microsoft.com/office/drawing/2014/main" id="{694E7DFD-9748-436D-AFF6-A50036843980}"/>
              </a:ext>
            </a:extLst>
          </p:cNvPr>
          <p:cNvSpPr>
            <a:spLocks noGrp="1"/>
          </p:cNvSpPr>
          <p:nvPr>
            <p:ph idx="1"/>
          </p:nvPr>
        </p:nvSpPr>
        <p:spPr>
          <a:xfrm>
            <a:off x="838200" y="1457011"/>
            <a:ext cx="5070231"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jdelijke aanduiding voor inhoud 2">
            <a:extLst>
              <a:ext uri="{FF2B5EF4-FFF2-40B4-BE49-F238E27FC236}">
                <a16:creationId xmlns:a16="http://schemas.microsoft.com/office/drawing/2014/main" id="{49B3BEF7-3220-4C7E-A8E8-F0E0AEDAECD9}"/>
              </a:ext>
            </a:extLst>
          </p:cNvPr>
          <p:cNvSpPr>
            <a:spLocks noGrp="1"/>
          </p:cNvSpPr>
          <p:nvPr>
            <p:ph idx="10"/>
          </p:nvPr>
        </p:nvSpPr>
        <p:spPr>
          <a:xfrm>
            <a:off x="6283569" y="1457011"/>
            <a:ext cx="5070231"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ijdelijke aanduiding voor voettekst 4">
            <a:extLst>
              <a:ext uri="{FF2B5EF4-FFF2-40B4-BE49-F238E27FC236}">
                <a16:creationId xmlns:a16="http://schemas.microsoft.com/office/drawing/2014/main" id="{E6702665-F588-4708-9642-2BE1BD30BF90}"/>
              </a:ext>
            </a:extLst>
          </p:cNvPr>
          <p:cNvSpPr>
            <a:spLocks noGrp="1"/>
          </p:cNvSpPr>
          <p:nvPr>
            <p:ph type="ftr" sz="quarter" idx="11"/>
          </p:nvPr>
        </p:nvSpPr>
        <p:spPr/>
        <p:txBody>
          <a:bodyPr/>
          <a:lstStyle/>
          <a:p>
            <a:r>
              <a:rPr lang="en-GB"/>
              <a:t>Template made by Smartpresentations</a:t>
            </a:r>
            <a:endParaRPr lang="en-GB" dirty="0"/>
          </a:p>
        </p:txBody>
      </p:sp>
      <p:sp>
        <p:nvSpPr>
          <p:cNvPr id="6" name="Tijdelijke aanduiding voor dianummer 5">
            <a:extLst>
              <a:ext uri="{FF2B5EF4-FFF2-40B4-BE49-F238E27FC236}">
                <a16:creationId xmlns:a16="http://schemas.microsoft.com/office/drawing/2014/main" id="{B38C7D42-B46F-43A2-B25F-3194F2371A21}"/>
              </a:ext>
            </a:extLst>
          </p:cNvPr>
          <p:cNvSpPr>
            <a:spLocks noGrp="1"/>
          </p:cNvSpPr>
          <p:nvPr>
            <p:ph type="sldNum" sz="quarter" idx="1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9383785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elements">
    <p:spTree>
      <p:nvGrpSpPr>
        <p:cNvPr id="1" name=""/>
        <p:cNvGrpSpPr/>
        <p:nvPr/>
      </p:nvGrpSpPr>
      <p:grpSpPr>
        <a:xfrm>
          <a:off x="0" y="0"/>
          <a:ext cx="0" cy="0"/>
          <a:chOff x="0" y="0"/>
          <a:chExt cx="0" cy="0"/>
        </a:xfrm>
      </p:grpSpPr>
      <p:sp>
        <p:nvSpPr>
          <p:cNvPr id="15" name="Tijdelijke aanduiding voor tekst 3">
            <a:extLst>
              <a:ext uri="{FF2B5EF4-FFF2-40B4-BE49-F238E27FC236}">
                <a16:creationId xmlns:a16="http://schemas.microsoft.com/office/drawing/2014/main" id="{4721C80A-4146-4B4E-B6F1-6BD31C89D0C2}"/>
              </a:ext>
            </a:extLst>
          </p:cNvPr>
          <p:cNvSpPr>
            <a:spLocks noGrp="1"/>
          </p:cNvSpPr>
          <p:nvPr>
            <p:ph type="body" sz="quarter" idx="15"/>
          </p:nvPr>
        </p:nvSpPr>
        <p:spPr>
          <a:xfrm>
            <a:off x="838200"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6" name="Tijdelijke aanduiding voor afbeelding 14">
            <a:extLst>
              <a:ext uri="{FF2B5EF4-FFF2-40B4-BE49-F238E27FC236}">
                <a16:creationId xmlns:a16="http://schemas.microsoft.com/office/drawing/2014/main" id="{B270BD3D-D644-487E-95D4-E6E989838DCB}"/>
              </a:ext>
            </a:extLst>
          </p:cNvPr>
          <p:cNvSpPr>
            <a:spLocks noGrp="1"/>
          </p:cNvSpPr>
          <p:nvPr>
            <p:ph type="pic" sz="quarter" idx="29" hasCustomPrompt="1"/>
          </p:nvPr>
        </p:nvSpPr>
        <p:spPr>
          <a:xfrm>
            <a:off x="2084802" y="2358033"/>
            <a:ext cx="904047" cy="901043"/>
          </a:xfrm>
        </p:spPr>
        <p:txBody>
          <a:bodyPr lIns="0" rIns="0" anchor="ctr">
            <a:noAutofit/>
          </a:bodyPr>
          <a:lstStyle>
            <a:lvl1pPr marL="0" indent="0" algn="ctr">
              <a:buNone/>
              <a:defRPr sz="1600"/>
            </a:lvl1pPr>
          </a:lstStyle>
          <a:p>
            <a:r>
              <a:rPr lang="en-GB" dirty="0"/>
              <a:t>ICON</a:t>
            </a:r>
          </a:p>
        </p:txBody>
      </p:sp>
      <p:sp>
        <p:nvSpPr>
          <p:cNvPr id="17" name="Tijdelijke aanduiding voor tekst 3">
            <a:extLst>
              <a:ext uri="{FF2B5EF4-FFF2-40B4-BE49-F238E27FC236}">
                <a16:creationId xmlns:a16="http://schemas.microsoft.com/office/drawing/2014/main" id="{F8D0FABD-11FD-446C-BB12-993BC56A89C8}"/>
              </a:ext>
            </a:extLst>
          </p:cNvPr>
          <p:cNvSpPr>
            <a:spLocks noGrp="1"/>
          </p:cNvSpPr>
          <p:nvPr>
            <p:ph type="body" sz="quarter" idx="30"/>
          </p:nvPr>
        </p:nvSpPr>
        <p:spPr>
          <a:xfrm>
            <a:off x="4402613"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8" name="Tijdelijke aanduiding voor afbeelding 14">
            <a:extLst>
              <a:ext uri="{FF2B5EF4-FFF2-40B4-BE49-F238E27FC236}">
                <a16:creationId xmlns:a16="http://schemas.microsoft.com/office/drawing/2014/main" id="{C8CDFCB2-1365-455F-8EC0-769BDA39F5BC}"/>
              </a:ext>
            </a:extLst>
          </p:cNvPr>
          <p:cNvSpPr>
            <a:spLocks noGrp="1"/>
          </p:cNvSpPr>
          <p:nvPr>
            <p:ph type="pic" sz="quarter" idx="31" hasCustomPrompt="1"/>
          </p:nvPr>
        </p:nvSpPr>
        <p:spPr>
          <a:xfrm>
            <a:off x="5649215" y="2358033"/>
            <a:ext cx="904047" cy="901043"/>
          </a:xfrm>
        </p:spPr>
        <p:txBody>
          <a:bodyPr lIns="0" rIns="0" anchor="ctr">
            <a:noAutofit/>
          </a:bodyPr>
          <a:lstStyle>
            <a:lvl1pPr marL="0" indent="0" algn="ctr">
              <a:buNone/>
              <a:defRPr sz="1600"/>
            </a:lvl1pPr>
          </a:lstStyle>
          <a:p>
            <a:r>
              <a:rPr lang="en-GB" dirty="0"/>
              <a:t>ICON</a:t>
            </a:r>
          </a:p>
        </p:txBody>
      </p:sp>
      <p:sp>
        <p:nvSpPr>
          <p:cNvPr id="19" name="Tijdelijke aanduiding voor tekst 3">
            <a:extLst>
              <a:ext uri="{FF2B5EF4-FFF2-40B4-BE49-F238E27FC236}">
                <a16:creationId xmlns:a16="http://schemas.microsoft.com/office/drawing/2014/main" id="{FEC90EB4-569C-4A1B-87DE-40734E1F8E3E}"/>
              </a:ext>
            </a:extLst>
          </p:cNvPr>
          <p:cNvSpPr>
            <a:spLocks noGrp="1"/>
          </p:cNvSpPr>
          <p:nvPr>
            <p:ph type="body" sz="quarter" idx="32"/>
          </p:nvPr>
        </p:nvSpPr>
        <p:spPr>
          <a:xfrm>
            <a:off x="7967026" y="3367077"/>
            <a:ext cx="3397250" cy="185811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20" name="Tijdelijke aanduiding voor afbeelding 14">
            <a:extLst>
              <a:ext uri="{FF2B5EF4-FFF2-40B4-BE49-F238E27FC236}">
                <a16:creationId xmlns:a16="http://schemas.microsoft.com/office/drawing/2014/main" id="{4DD2E1FC-778E-427A-81C1-D71076F6A77C}"/>
              </a:ext>
            </a:extLst>
          </p:cNvPr>
          <p:cNvSpPr>
            <a:spLocks noGrp="1"/>
          </p:cNvSpPr>
          <p:nvPr>
            <p:ph type="pic" sz="quarter" idx="33" hasCustomPrompt="1"/>
          </p:nvPr>
        </p:nvSpPr>
        <p:spPr>
          <a:xfrm>
            <a:off x="9213628" y="2358033"/>
            <a:ext cx="904047" cy="901043"/>
          </a:xfrm>
        </p:spPr>
        <p:txBody>
          <a:bodyPr lIns="0" rIns="0" anchor="ctr">
            <a:noAutofit/>
          </a:bodyPr>
          <a:lstStyle>
            <a:lvl1pPr marL="0" indent="0" algn="ctr">
              <a:buNone/>
              <a:defRPr sz="1600"/>
            </a:lvl1pPr>
          </a:lstStyle>
          <a:p>
            <a:r>
              <a:rPr lang="en-GB" dirty="0"/>
              <a:t>ICON</a:t>
            </a:r>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en-US"/>
              <a:t>Click to edit Master title style</a:t>
            </a:r>
            <a:endParaRPr lang="en-GB" dirty="0"/>
          </a:p>
        </p:txBody>
      </p:sp>
      <p:sp>
        <p:nvSpPr>
          <p:cNvPr id="10" name="Rechthoek 9">
            <a:extLst>
              <a:ext uri="{FF2B5EF4-FFF2-40B4-BE49-F238E27FC236}">
                <a16:creationId xmlns:a16="http://schemas.microsoft.com/office/drawing/2014/main" id="{340D5EB6-FBA0-4EA7-ACF6-D6C74608F9A7}"/>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tekst 6">
            <a:extLst>
              <a:ext uri="{FF2B5EF4-FFF2-40B4-BE49-F238E27FC236}">
                <a16:creationId xmlns:a16="http://schemas.microsoft.com/office/drawing/2014/main" id="{6B1E8691-7399-49D0-9AE6-FB4346EE2A37}"/>
              </a:ext>
            </a:extLst>
          </p:cNvPr>
          <p:cNvSpPr>
            <a:spLocks noGrp="1"/>
          </p:cNvSpPr>
          <p:nvPr>
            <p:ph type="body" sz="quarter" idx="22"/>
          </p:nvPr>
        </p:nvSpPr>
        <p:spPr>
          <a:xfrm rot="5400000">
            <a:off x="2806463" y="3694154"/>
            <a:ext cx="30132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48" name="Tijdelijke aanduiding voor tekst 6">
            <a:extLst>
              <a:ext uri="{FF2B5EF4-FFF2-40B4-BE49-F238E27FC236}">
                <a16:creationId xmlns:a16="http://schemas.microsoft.com/office/drawing/2014/main" id="{EBC2D348-238B-4490-BD89-4C2A5A6B5907}"/>
              </a:ext>
            </a:extLst>
          </p:cNvPr>
          <p:cNvSpPr>
            <a:spLocks noGrp="1"/>
          </p:cNvSpPr>
          <p:nvPr>
            <p:ph type="body" sz="quarter" idx="37"/>
          </p:nvPr>
        </p:nvSpPr>
        <p:spPr>
          <a:xfrm rot="5400000">
            <a:off x="6382813" y="3694154"/>
            <a:ext cx="30132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4068762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6 elements">
    <p:spTree>
      <p:nvGrpSpPr>
        <p:cNvPr id="1" name=""/>
        <p:cNvGrpSpPr/>
        <p:nvPr/>
      </p:nvGrpSpPr>
      <p:grpSpPr>
        <a:xfrm>
          <a:off x="0" y="0"/>
          <a:ext cx="0" cy="0"/>
          <a:chOff x="0" y="0"/>
          <a:chExt cx="0" cy="0"/>
        </a:xfrm>
      </p:grpSpPr>
      <p:sp>
        <p:nvSpPr>
          <p:cNvPr id="15" name="Tijdelijke aanduiding voor tekst 3">
            <a:extLst>
              <a:ext uri="{FF2B5EF4-FFF2-40B4-BE49-F238E27FC236}">
                <a16:creationId xmlns:a16="http://schemas.microsoft.com/office/drawing/2014/main" id="{4721C80A-4146-4B4E-B6F1-6BD31C89D0C2}"/>
              </a:ext>
            </a:extLst>
          </p:cNvPr>
          <p:cNvSpPr>
            <a:spLocks noGrp="1"/>
          </p:cNvSpPr>
          <p:nvPr>
            <p:ph type="body" sz="quarter" idx="15"/>
          </p:nvPr>
        </p:nvSpPr>
        <p:spPr>
          <a:xfrm>
            <a:off x="838200"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6" name="Tijdelijke aanduiding voor afbeelding 14">
            <a:extLst>
              <a:ext uri="{FF2B5EF4-FFF2-40B4-BE49-F238E27FC236}">
                <a16:creationId xmlns:a16="http://schemas.microsoft.com/office/drawing/2014/main" id="{B270BD3D-D644-487E-95D4-E6E989838DCB}"/>
              </a:ext>
            </a:extLst>
          </p:cNvPr>
          <p:cNvSpPr>
            <a:spLocks noGrp="1"/>
          </p:cNvSpPr>
          <p:nvPr>
            <p:ph type="pic" sz="quarter" idx="29" hasCustomPrompt="1"/>
          </p:nvPr>
        </p:nvSpPr>
        <p:spPr>
          <a:xfrm>
            <a:off x="2084802" y="1594334"/>
            <a:ext cx="904047" cy="901043"/>
          </a:xfrm>
        </p:spPr>
        <p:txBody>
          <a:bodyPr lIns="0" rIns="0" anchor="ctr">
            <a:noAutofit/>
          </a:bodyPr>
          <a:lstStyle>
            <a:lvl1pPr marL="0" indent="0" algn="ctr">
              <a:buNone/>
              <a:defRPr sz="1600"/>
            </a:lvl1pPr>
          </a:lstStyle>
          <a:p>
            <a:r>
              <a:rPr lang="en-GB" dirty="0"/>
              <a:t>ICON</a:t>
            </a:r>
          </a:p>
        </p:txBody>
      </p:sp>
      <p:sp>
        <p:nvSpPr>
          <p:cNvPr id="17" name="Tijdelijke aanduiding voor tekst 3">
            <a:extLst>
              <a:ext uri="{FF2B5EF4-FFF2-40B4-BE49-F238E27FC236}">
                <a16:creationId xmlns:a16="http://schemas.microsoft.com/office/drawing/2014/main" id="{F8D0FABD-11FD-446C-BB12-993BC56A89C8}"/>
              </a:ext>
            </a:extLst>
          </p:cNvPr>
          <p:cNvSpPr>
            <a:spLocks noGrp="1"/>
          </p:cNvSpPr>
          <p:nvPr>
            <p:ph type="body" sz="quarter" idx="30"/>
          </p:nvPr>
        </p:nvSpPr>
        <p:spPr>
          <a:xfrm>
            <a:off x="4402613"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18" name="Tijdelijke aanduiding voor afbeelding 14">
            <a:extLst>
              <a:ext uri="{FF2B5EF4-FFF2-40B4-BE49-F238E27FC236}">
                <a16:creationId xmlns:a16="http://schemas.microsoft.com/office/drawing/2014/main" id="{C8CDFCB2-1365-455F-8EC0-769BDA39F5BC}"/>
              </a:ext>
            </a:extLst>
          </p:cNvPr>
          <p:cNvSpPr>
            <a:spLocks noGrp="1"/>
          </p:cNvSpPr>
          <p:nvPr>
            <p:ph type="pic" sz="quarter" idx="31" hasCustomPrompt="1"/>
          </p:nvPr>
        </p:nvSpPr>
        <p:spPr>
          <a:xfrm>
            <a:off x="5649215" y="1594334"/>
            <a:ext cx="904047" cy="901043"/>
          </a:xfrm>
        </p:spPr>
        <p:txBody>
          <a:bodyPr lIns="0" rIns="0" anchor="ctr">
            <a:noAutofit/>
          </a:bodyPr>
          <a:lstStyle>
            <a:lvl1pPr marL="0" indent="0" algn="ctr">
              <a:buNone/>
              <a:defRPr sz="1600"/>
            </a:lvl1pPr>
          </a:lstStyle>
          <a:p>
            <a:r>
              <a:rPr lang="en-GB" dirty="0"/>
              <a:t>ICON</a:t>
            </a:r>
          </a:p>
        </p:txBody>
      </p:sp>
      <p:sp>
        <p:nvSpPr>
          <p:cNvPr id="19" name="Tijdelijke aanduiding voor tekst 3">
            <a:extLst>
              <a:ext uri="{FF2B5EF4-FFF2-40B4-BE49-F238E27FC236}">
                <a16:creationId xmlns:a16="http://schemas.microsoft.com/office/drawing/2014/main" id="{FEC90EB4-569C-4A1B-87DE-40734E1F8E3E}"/>
              </a:ext>
            </a:extLst>
          </p:cNvPr>
          <p:cNvSpPr>
            <a:spLocks noGrp="1"/>
          </p:cNvSpPr>
          <p:nvPr>
            <p:ph type="body" sz="quarter" idx="32"/>
          </p:nvPr>
        </p:nvSpPr>
        <p:spPr>
          <a:xfrm>
            <a:off x="7967026" y="2651729"/>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20" name="Tijdelijke aanduiding voor afbeelding 14">
            <a:extLst>
              <a:ext uri="{FF2B5EF4-FFF2-40B4-BE49-F238E27FC236}">
                <a16:creationId xmlns:a16="http://schemas.microsoft.com/office/drawing/2014/main" id="{4DD2E1FC-778E-427A-81C1-D71076F6A77C}"/>
              </a:ext>
            </a:extLst>
          </p:cNvPr>
          <p:cNvSpPr>
            <a:spLocks noGrp="1"/>
          </p:cNvSpPr>
          <p:nvPr>
            <p:ph type="pic" sz="quarter" idx="33" hasCustomPrompt="1"/>
          </p:nvPr>
        </p:nvSpPr>
        <p:spPr>
          <a:xfrm>
            <a:off x="9213628" y="1594334"/>
            <a:ext cx="904047" cy="901043"/>
          </a:xfrm>
        </p:spPr>
        <p:txBody>
          <a:bodyPr lIns="0" rIns="0" anchor="ctr">
            <a:noAutofit/>
          </a:bodyPr>
          <a:lstStyle>
            <a:lvl1pPr marL="0" indent="0" algn="ctr">
              <a:buNone/>
              <a:defRPr sz="1600"/>
            </a:lvl1pPr>
          </a:lstStyle>
          <a:p>
            <a:r>
              <a:rPr lang="en-GB" dirty="0"/>
              <a:t>ICON</a:t>
            </a:r>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en-US"/>
              <a:t>Click to edit Master title style</a:t>
            </a:r>
            <a:endParaRPr lang="en-GB" dirty="0"/>
          </a:p>
        </p:txBody>
      </p:sp>
      <p:sp>
        <p:nvSpPr>
          <p:cNvPr id="10" name="Rechthoek 9">
            <a:extLst>
              <a:ext uri="{FF2B5EF4-FFF2-40B4-BE49-F238E27FC236}">
                <a16:creationId xmlns:a16="http://schemas.microsoft.com/office/drawing/2014/main" id="{340D5EB6-FBA0-4EA7-ACF6-D6C74608F9A7}"/>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tekst 3">
            <a:extLst>
              <a:ext uri="{FF2B5EF4-FFF2-40B4-BE49-F238E27FC236}">
                <a16:creationId xmlns:a16="http://schemas.microsoft.com/office/drawing/2014/main" id="{1DF1C92D-FD08-4482-8F41-EA3FC515818C}"/>
              </a:ext>
            </a:extLst>
          </p:cNvPr>
          <p:cNvSpPr>
            <a:spLocks noGrp="1"/>
          </p:cNvSpPr>
          <p:nvPr>
            <p:ph type="body" sz="quarter" idx="37"/>
          </p:nvPr>
        </p:nvSpPr>
        <p:spPr>
          <a:xfrm>
            <a:off x="838200"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48" name="Tijdelijke aanduiding voor afbeelding 14">
            <a:extLst>
              <a:ext uri="{FF2B5EF4-FFF2-40B4-BE49-F238E27FC236}">
                <a16:creationId xmlns:a16="http://schemas.microsoft.com/office/drawing/2014/main" id="{C17446A0-1544-44A5-8E99-2C973E21CD02}"/>
              </a:ext>
            </a:extLst>
          </p:cNvPr>
          <p:cNvSpPr>
            <a:spLocks noGrp="1"/>
          </p:cNvSpPr>
          <p:nvPr>
            <p:ph type="pic" sz="quarter" idx="38" hasCustomPrompt="1"/>
          </p:nvPr>
        </p:nvSpPr>
        <p:spPr>
          <a:xfrm>
            <a:off x="2084802" y="3948719"/>
            <a:ext cx="904047" cy="901043"/>
          </a:xfrm>
        </p:spPr>
        <p:txBody>
          <a:bodyPr lIns="0" rIns="0" anchor="ctr">
            <a:noAutofit/>
          </a:bodyPr>
          <a:lstStyle>
            <a:lvl1pPr marL="0" indent="0" algn="ctr">
              <a:buNone/>
              <a:defRPr sz="1600"/>
            </a:lvl1pPr>
          </a:lstStyle>
          <a:p>
            <a:r>
              <a:rPr lang="en-GB" dirty="0"/>
              <a:t>ICON</a:t>
            </a:r>
          </a:p>
        </p:txBody>
      </p:sp>
      <p:sp>
        <p:nvSpPr>
          <p:cNvPr id="49" name="Tijdelijke aanduiding voor tekst 3">
            <a:extLst>
              <a:ext uri="{FF2B5EF4-FFF2-40B4-BE49-F238E27FC236}">
                <a16:creationId xmlns:a16="http://schemas.microsoft.com/office/drawing/2014/main" id="{FC38250E-3176-4A8F-B2CE-EF88457E075E}"/>
              </a:ext>
            </a:extLst>
          </p:cNvPr>
          <p:cNvSpPr>
            <a:spLocks noGrp="1"/>
          </p:cNvSpPr>
          <p:nvPr>
            <p:ph type="body" sz="quarter" idx="39"/>
          </p:nvPr>
        </p:nvSpPr>
        <p:spPr>
          <a:xfrm>
            <a:off x="4402613"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50" name="Tijdelijke aanduiding voor afbeelding 14">
            <a:extLst>
              <a:ext uri="{FF2B5EF4-FFF2-40B4-BE49-F238E27FC236}">
                <a16:creationId xmlns:a16="http://schemas.microsoft.com/office/drawing/2014/main" id="{6435E2B5-9F52-480C-BE4F-71B56CE519B4}"/>
              </a:ext>
            </a:extLst>
          </p:cNvPr>
          <p:cNvSpPr>
            <a:spLocks noGrp="1"/>
          </p:cNvSpPr>
          <p:nvPr>
            <p:ph type="pic" sz="quarter" idx="40" hasCustomPrompt="1"/>
          </p:nvPr>
        </p:nvSpPr>
        <p:spPr>
          <a:xfrm>
            <a:off x="5649215" y="3948719"/>
            <a:ext cx="904047" cy="901043"/>
          </a:xfrm>
        </p:spPr>
        <p:txBody>
          <a:bodyPr lIns="0" rIns="0" anchor="ctr">
            <a:noAutofit/>
          </a:bodyPr>
          <a:lstStyle>
            <a:lvl1pPr marL="0" indent="0" algn="ctr">
              <a:buNone/>
              <a:defRPr sz="1600"/>
            </a:lvl1pPr>
          </a:lstStyle>
          <a:p>
            <a:r>
              <a:rPr lang="en-GB" dirty="0"/>
              <a:t>ICON</a:t>
            </a:r>
          </a:p>
        </p:txBody>
      </p:sp>
      <p:sp>
        <p:nvSpPr>
          <p:cNvPr id="51" name="Tijdelijke aanduiding voor tekst 3">
            <a:extLst>
              <a:ext uri="{FF2B5EF4-FFF2-40B4-BE49-F238E27FC236}">
                <a16:creationId xmlns:a16="http://schemas.microsoft.com/office/drawing/2014/main" id="{A76D1AFA-BF19-4037-A5E5-B65C31B7AC53}"/>
              </a:ext>
            </a:extLst>
          </p:cNvPr>
          <p:cNvSpPr>
            <a:spLocks noGrp="1"/>
          </p:cNvSpPr>
          <p:nvPr>
            <p:ph type="body" sz="quarter" idx="41"/>
          </p:nvPr>
        </p:nvSpPr>
        <p:spPr>
          <a:xfrm>
            <a:off x="7967026" y="5006114"/>
            <a:ext cx="3397250" cy="99450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Font typeface="Arial" panose="020B0604020202020204" pitchFamily="34" charset="0"/>
              <a:buNone/>
              <a:defRPr lang="nl-NL" sz="1800" smtClean="0">
                <a:solidFill>
                  <a:schemeClr val="tx1"/>
                </a:solidFill>
                <a:latin typeface="+mn-lt"/>
              </a:defRPr>
            </a:lvl1pPr>
            <a:lvl2pPr marL="171450" indent="0">
              <a:buFont typeface="Arial" panose="020B0604020202020204" pitchFamily="34" charset="0"/>
              <a:buNone/>
              <a:defRPr lang="nl-NL" sz="1800" smtClean="0">
                <a:solidFill>
                  <a:schemeClr val="tx2"/>
                </a:solidFill>
                <a:latin typeface="+mn-lt"/>
              </a:defRPr>
            </a:lvl2pPr>
            <a:lvl3pPr marL="628650" indent="0">
              <a:buFont typeface="Arial" panose="020B0604020202020204" pitchFamily="34" charset="0"/>
              <a:buNone/>
              <a:defRPr lang="nl-NL" sz="1800" smtClean="0">
                <a:solidFill>
                  <a:schemeClr val="tx2"/>
                </a:solidFill>
                <a:latin typeface="+mn-lt"/>
              </a:defRPr>
            </a:lvl3pPr>
            <a:lvl4pPr marL="1085850" indent="0">
              <a:buFont typeface="Arial" panose="020B0604020202020204" pitchFamily="34" charset="0"/>
              <a:buNone/>
              <a:defRPr lang="nl-NL" smtClean="0">
                <a:solidFill>
                  <a:schemeClr val="tx2"/>
                </a:solidFill>
                <a:latin typeface="+mn-lt"/>
              </a:defRPr>
            </a:lvl4pPr>
            <a:lvl5pPr marL="1543050" indent="0">
              <a:buFont typeface="Arial" panose="020B0604020202020204" pitchFamily="34" charset="0"/>
              <a:buNone/>
              <a:defRPr lang="en-GB">
                <a:solidFill>
                  <a:schemeClr val="tx2"/>
                </a:solidFill>
                <a:latin typeface="+mn-lt"/>
              </a:defRPr>
            </a:lvl5pPr>
          </a:lstStyle>
          <a:p>
            <a:pPr marL="0" lvl="0" algn="ctr"/>
            <a:r>
              <a:rPr lang="en-US"/>
              <a:t>Click to edit Master text styles</a:t>
            </a:r>
          </a:p>
        </p:txBody>
      </p:sp>
      <p:sp>
        <p:nvSpPr>
          <p:cNvPr id="52" name="Tijdelijke aanduiding voor afbeelding 14">
            <a:extLst>
              <a:ext uri="{FF2B5EF4-FFF2-40B4-BE49-F238E27FC236}">
                <a16:creationId xmlns:a16="http://schemas.microsoft.com/office/drawing/2014/main" id="{53CC7C3C-032E-43BD-BB3C-D74EE2737788}"/>
              </a:ext>
            </a:extLst>
          </p:cNvPr>
          <p:cNvSpPr>
            <a:spLocks noGrp="1"/>
          </p:cNvSpPr>
          <p:nvPr>
            <p:ph type="pic" sz="quarter" idx="42" hasCustomPrompt="1"/>
          </p:nvPr>
        </p:nvSpPr>
        <p:spPr>
          <a:xfrm>
            <a:off x="9213628" y="3948719"/>
            <a:ext cx="904047" cy="901043"/>
          </a:xfrm>
        </p:spPr>
        <p:txBody>
          <a:bodyPr lIns="0" rIns="0" anchor="ctr">
            <a:noAutofit/>
          </a:bodyPr>
          <a:lstStyle>
            <a:lvl1pPr marL="0" indent="0" algn="ctr">
              <a:buNone/>
              <a:defRPr sz="1600"/>
            </a:lvl1pPr>
          </a:lstStyle>
          <a:p>
            <a:r>
              <a:rPr lang="en-GB" dirty="0"/>
              <a:t>ICON</a:t>
            </a:r>
          </a:p>
        </p:txBody>
      </p:sp>
      <p:sp>
        <p:nvSpPr>
          <p:cNvPr id="53" name="Tijdelijke aanduiding voor tekst 6">
            <a:extLst>
              <a:ext uri="{FF2B5EF4-FFF2-40B4-BE49-F238E27FC236}">
                <a16:creationId xmlns:a16="http://schemas.microsoft.com/office/drawing/2014/main" id="{800F98BF-369C-4277-8D9A-303DBB03CB0A}"/>
              </a:ext>
            </a:extLst>
          </p:cNvPr>
          <p:cNvSpPr>
            <a:spLocks noGrp="1"/>
          </p:cNvSpPr>
          <p:nvPr>
            <p:ph type="body" sz="quarter" idx="22"/>
          </p:nvPr>
        </p:nvSpPr>
        <p:spPr>
          <a:xfrm rot="5400000">
            <a:off x="2048329" y="3720927"/>
            <a:ext cx="4572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54" name="Tijdelijke aanduiding voor tekst 6">
            <a:extLst>
              <a:ext uri="{FF2B5EF4-FFF2-40B4-BE49-F238E27FC236}">
                <a16:creationId xmlns:a16="http://schemas.microsoft.com/office/drawing/2014/main" id="{6BCDBB89-288D-4C7B-A937-F4AFF9D21F34}"/>
              </a:ext>
            </a:extLst>
          </p:cNvPr>
          <p:cNvSpPr>
            <a:spLocks noGrp="1"/>
          </p:cNvSpPr>
          <p:nvPr>
            <p:ph type="body" sz="quarter" idx="43"/>
          </p:nvPr>
        </p:nvSpPr>
        <p:spPr>
          <a:xfrm rot="5400000">
            <a:off x="5597444" y="3720927"/>
            <a:ext cx="4572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55" name="Tijdelijke aanduiding voor tekst 6">
            <a:extLst>
              <a:ext uri="{FF2B5EF4-FFF2-40B4-BE49-F238E27FC236}">
                <a16:creationId xmlns:a16="http://schemas.microsoft.com/office/drawing/2014/main" id="{60BE33B4-DA0A-48B0-A7F8-49064C4383DF}"/>
              </a:ext>
            </a:extLst>
          </p:cNvPr>
          <p:cNvSpPr>
            <a:spLocks noGrp="1"/>
          </p:cNvSpPr>
          <p:nvPr>
            <p:ph type="body" sz="quarter" idx="44"/>
          </p:nvPr>
        </p:nvSpPr>
        <p:spPr>
          <a:xfrm>
            <a:off x="838200" y="3715100"/>
            <a:ext cx="10548000" cy="18000"/>
          </a:xfrm>
          <a:solidFill>
            <a:schemeClr val="bg2">
              <a:lumMod val="90000"/>
            </a:schemeClr>
          </a:soli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3278330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par>
                                <p:cTn id="9" presetID="53" presetClass="entr" presetSubtype="16" fill="hold" grpId="1"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p:cTn id="11" dur="500" fill="hold"/>
                                        <p:tgtEl>
                                          <p:spTgt spid="15"/>
                                        </p:tgtEl>
                                        <p:attrNameLst>
                                          <p:attrName>ppt_w</p:attrName>
                                        </p:attrNameLst>
                                      </p:cBhvr>
                                      <p:tavLst>
                                        <p:tav tm="0">
                                          <p:val>
                                            <p:fltVal val="0"/>
                                          </p:val>
                                        </p:tav>
                                        <p:tav tm="100000">
                                          <p:val>
                                            <p:strVal val="#ppt_w"/>
                                          </p:val>
                                        </p:tav>
                                      </p:tavLst>
                                    </p:anim>
                                    <p:anim calcmode="lin" valueType="num">
                                      <p:cBhvr>
                                        <p:cTn id="12" dur="500" fill="hold"/>
                                        <p:tgtEl>
                                          <p:spTgt spid="15"/>
                                        </p:tgtEl>
                                        <p:attrNameLst>
                                          <p:attrName>ppt_h</p:attrName>
                                        </p:attrNameLst>
                                      </p:cBhvr>
                                      <p:tavLst>
                                        <p:tav tm="0">
                                          <p:val>
                                            <p:fltVal val="0"/>
                                          </p:val>
                                        </p:tav>
                                        <p:tav tm="100000">
                                          <p:val>
                                            <p:strVal val="#ppt_h"/>
                                          </p:val>
                                        </p:tav>
                                      </p:tavLst>
                                    </p:anim>
                                    <p:animEffect transition="in" filter="fade">
                                      <p:cBhvr>
                                        <p:cTn id="13" dur="500"/>
                                        <p:tgtEl>
                                          <p:spTgt spid="15"/>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par>
                          <p:cTn id="17" fill="hold">
                            <p:stCondLst>
                              <p:cond delay="750"/>
                            </p:stCondLst>
                            <p:childTnLst>
                              <p:par>
                                <p:cTn id="18" presetID="2" presetClass="entr" presetSubtype="4" decel="100000"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anim calcmode="lin" valueType="num">
                                      <p:cBhvr additive="base">
                                        <p:cTn id="20" dur="500" fill="hold"/>
                                        <p:tgtEl>
                                          <p:spTgt spid="17"/>
                                        </p:tgtEl>
                                        <p:attrNameLst>
                                          <p:attrName>ppt_x</p:attrName>
                                        </p:attrNameLst>
                                      </p:cBhvr>
                                      <p:tavLst>
                                        <p:tav tm="0">
                                          <p:val>
                                            <p:strVal val="#ppt_x"/>
                                          </p:val>
                                        </p:tav>
                                        <p:tav tm="100000">
                                          <p:val>
                                            <p:strVal val="#ppt_x"/>
                                          </p:val>
                                        </p:tav>
                                      </p:tavLst>
                                    </p:anim>
                                    <p:anim calcmode="lin" valueType="num">
                                      <p:cBhvr additive="base">
                                        <p:cTn id="21" dur="500" fill="hold"/>
                                        <p:tgtEl>
                                          <p:spTgt spid="17"/>
                                        </p:tgtEl>
                                        <p:attrNameLst>
                                          <p:attrName>ppt_y</p:attrName>
                                        </p:attrNameLst>
                                      </p:cBhvr>
                                      <p:tavLst>
                                        <p:tav tm="0">
                                          <p:val>
                                            <p:strVal val="1+#ppt_h/2"/>
                                          </p:val>
                                        </p:tav>
                                        <p:tav tm="100000">
                                          <p:val>
                                            <p:strVal val="#ppt_y"/>
                                          </p:val>
                                        </p:tav>
                                      </p:tavLst>
                                    </p:anim>
                                  </p:childTnLst>
                                </p:cTn>
                              </p:par>
                              <p:par>
                                <p:cTn id="22" presetID="53" presetClass="entr" presetSubtype="16" fill="hold" grpId="1" nodeType="with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p:cTn id="24" dur="500" fill="hold"/>
                                        <p:tgtEl>
                                          <p:spTgt spid="17"/>
                                        </p:tgtEl>
                                        <p:attrNameLst>
                                          <p:attrName>ppt_w</p:attrName>
                                        </p:attrNameLst>
                                      </p:cBhvr>
                                      <p:tavLst>
                                        <p:tav tm="0">
                                          <p:val>
                                            <p:fltVal val="0"/>
                                          </p:val>
                                        </p:tav>
                                        <p:tav tm="100000">
                                          <p:val>
                                            <p:strVal val="#ppt_w"/>
                                          </p:val>
                                        </p:tav>
                                      </p:tavLst>
                                    </p:anim>
                                    <p:anim calcmode="lin" valueType="num">
                                      <p:cBhvr>
                                        <p:cTn id="25" dur="500" fill="hold"/>
                                        <p:tgtEl>
                                          <p:spTgt spid="17"/>
                                        </p:tgtEl>
                                        <p:attrNameLst>
                                          <p:attrName>ppt_h</p:attrName>
                                        </p:attrNameLst>
                                      </p:cBhvr>
                                      <p:tavLst>
                                        <p:tav tm="0">
                                          <p:val>
                                            <p:fltVal val="0"/>
                                          </p:val>
                                        </p:tav>
                                        <p:tav tm="100000">
                                          <p:val>
                                            <p:strVal val="#ppt_h"/>
                                          </p:val>
                                        </p:tav>
                                      </p:tavLst>
                                    </p:anim>
                                    <p:animEffect transition="in" filter="fade">
                                      <p:cBhvr>
                                        <p:cTn id="26" dur="500"/>
                                        <p:tgtEl>
                                          <p:spTgt spid="17"/>
                                        </p:tgtEl>
                                      </p:cBhvr>
                                    </p:animEffect>
                                  </p:childTnLst>
                                </p:cTn>
                              </p:par>
                              <p:par>
                                <p:cTn id="27" presetID="10" presetClass="entr" presetSubtype="0" fill="hold" grpId="0" nodeType="withEffect">
                                  <p:stCondLst>
                                    <p:cond delay="25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par>
                          <p:cTn id="30" fill="hold">
                            <p:stCondLst>
                              <p:cond delay="1500"/>
                            </p:stCondLst>
                            <p:childTnLst>
                              <p:par>
                                <p:cTn id="31" presetID="2" presetClass="entr" presetSubtype="4" decel="100000"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par>
                                <p:cTn id="35" presetID="53" presetClass="entr" presetSubtype="16" fill="hold" grpId="1" nodeType="with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p:cTn id="37" dur="500" fill="hold"/>
                                        <p:tgtEl>
                                          <p:spTgt spid="19"/>
                                        </p:tgtEl>
                                        <p:attrNameLst>
                                          <p:attrName>ppt_w</p:attrName>
                                        </p:attrNameLst>
                                      </p:cBhvr>
                                      <p:tavLst>
                                        <p:tav tm="0">
                                          <p:val>
                                            <p:fltVal val="0"/>
                                          </p:val>
                                        </p:tav>
                                        <p:tav tm="100000">
                                          <p:val>
                                            <p:strVal val="#ppt_w"/>
                                          </p:val>
                                        </p:tav>
                                      </p:tavLst>
                                    </p:anim>
                                    <p:anim calcmode="lin" valueType="num">
                                      <p:cBhvr>
                                        <p:cTn id="38" dur="500" fill="hold"/>
                                        <p:tgtEl>
                                          <p:spTgt spid="19"/>
                                        </p:tgtEl>
                                        <p:attrNameLst>
                                          <p:attrName>ppt_h</p:attrName>
                                        </p:attrNameLst>
                                      </p:cBhvr>
                                      <p:tavLst>
                                        <p:tav tm="0">
                                          <p:val>
                                            <p:fltVal val="0"/>
                                          </p:val>
                                        </p:tav>
                                        <p:tav tm="100000">
                                          <p:val>
                                            <p:strVal val="#ppt_h"/>
                                          </p:val>
                                        </p:tav>
                                      </p:tavLst>
                                    </p:anim>
                                    <p:animEffect transition="in" filter="fade">
                                      <p:cBhvr>
                                        <p:cTn id="39" dur="500"/>
                                        <p:tgtEl>
                                          <p:spTgt spid="19"/>
                                        </p:tgtEl>
                                      </p:cBhvr>
                                    </p:animEffect>
                                  </p:childTnLst>
                                </p:cTn>
                              </p:par>
                              <p:par>
                                <p:cTn id="40" presetID="10" presetClass="entr" presetSubtype="0" fill="hold" grpId="0" nodeType="withEffect">
                                  <p:stCondLst>
                                    <p:cond delay="25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par>
                          <p:cTn id="43" fill="hold">
                            <p:stCondLst>
                              <p:cond delay="2250"/>
                            </p:stCondLst>
                            <p:childTnLst>
                              <p:par>
                                <p:cTn id="44" presetID="2" presetClass="entr" presetSubtype="4" decel="100000" fill="hold" grpId="0" nodeType="afterEffect">
                                  <p:stCondLst>
                                    <p:cond delay="0"/>
                                  </p:stCondLst>
                                  <p:childTnLst>
                                    <p:set>
                                      <p:cBhvr>
                                        <p:cTn id="45" dur="1" fill="hold">
                                          <p:stCondLst>
                                            <p:cond delay="0"/>
                                          </p:stCondLst>
                                        </p:cTn>
                                        <p:tgtEl>
                                          <p:spTgt spid="47"/>
                                        </p:tgtEl>
                                        <p:attrNameLst>
                                          <p:attrName>style.visibility</p:attrName>
                                        </p:attrNameLst>
                                      </p:cBhvr>
                                      <p:to>
                                        <p:strVal val="visible"/>
                                      </p:to>
                                    </p:set>
                                    <p:anim calcmode="lin" valueType="num">
                                      <p:cBhvr additive="base">
                                        <p:cTn id="46" dur="500" fill="hold"/>
                                        <p:tgtEl>
                                          <p:spTgt spid="47"/>
                                        </p:tgtEl>
                                        <p:attrNameLst>
                                          <p:attrName>ppt_x</p:attrName>
                                        </p:attrNameLst>
                                      </p:cBhvr>
                                      <p:tavLst>
                                        <p:tav tm="0">
                                          <p:val>
                                            <p:strVal val="#ppt_x"/>
                                          </p:val>
                                        </p:tav>
                                        <p:tav tm="100000">
                                          <p:val>
                                            <p:strVal val="#ppt_x"/>
                                          </p:val>
                                        </p:tav>
                                      </p:tavLst>
                                    </p:anim>
                                    <p:anim calcmode="lin" valueType="num">
                                      <p:cBhvr additive="base">
                                        <p:cTn id="47" dur="500" fill="hold"/>
                                        <p:tgtEl>
                                          <p:spTgt spid="47"/>
                                        </p:tgtEl>
                                        <p:attrNameLst>
                                          <p:attrName>ppt_y</p:attrName>
                                        </p:attrNameLst>
                                      </p:cBhvr>
                                      <p:tavLst>
                                        <p:tav tm="0">
                                          <p:val>
                                            <p:strVal val="1+#ppt_h/2"/>
                                          </p:val>
                                        </p:tav>
                                        <p:tav tm="100000">
                                          <p:val>
                                            <p:strVal val="#ppt_y"/>
                                          </p:val>
                                        </p:tav>
                                      </p:tavLst>
                                    </p:anim>
                                  </p:childTnLst>
                                </p:cTn>
                              </p:par>
                              <p:par>
                                <p:cTn id="48" presetID="53" presetClass="entr" presetSubtype="16" fill="hold" grpId="1" nodeType="withEffect">
                                  <p:stCondLst>
                                    <p:cond delay="0"/>
                                  </p:stCondLst>
                                  <p:childTnLst>
                                    <p:set>
                                      <p:cBhvr>
                                        <p:cTn id="49" dur="1" fill="hold">
                                          <p:stCondLst>
                                            <p:cond delay="0"/>
                                          </p:stCondLst>
                                        </p:cTn>
                                        <p:tgtEl>
                                          <p:spTgt spid="47"/>
                                        </p:tgtEl>
                                        <p:attrNameLst>
                                          <p:attrName>style.visibility</p:attrName>
                                        </p:attrNameLst>
                                      </p:cBhvr>
                                      <p:to>
                                        <p:strVal val="visible"/>
                                      </p:to>
                                    </p:set>
                                    <p:anim calcmode="lin" valueType="num">
                                      <p:cBhvr>
                                        <p:cTn id="50" dur="500" fill="hold"/>
                                        <p:tgtEl>
                                          <p:spTgt spid="47"/>
                                        </p:tgtEl>
                                        <p:attrNameLst>
                                          <p:attrName>ppt_w</p:attrName>
                                        </p:attrNameLst>
                                      </p:cBhvr>
                                      <p:tavLst>
                                        <p:tav tm="0">
                                          <p:val>
                                            <p:fltVal val="0"/>
                                          </p:val>
                                        </p:tav>
                                        <p:tav tm="100000">
                                          <p:val>
                                            <p:strVal val="#ppt_w"/>
                                          </p:val>
                                        </p:tav>
                                      </p:tavLst>
                                    </p:anim>
                                    <p:anim calcmode="lin" valueType="num">
                                      <p:cBhvr>
                                        <p:cTn id="51" dur="500" fill="hold"/>
                                        <p:tgtEl>
                                          <p:spTgt spid="47"/>
                                        </p:tgtEl>
                                        <p:attrNameLst>
                                          <p:attrName>ppt_h</p:attrName>
                                        </p:attrNameLst>
                                      </p:cBhvr>
                                      <p:tavLst>
                                        <p:tav tm="0">
                                          <p:val>
                                            <p:fltVal val="0"/>
                                          </p:val>
                                        </p:tav>
                                        <p:tav tm="100000">
                                          <p:val>
                                            <p:strVal val="#ppt_h"/>
                                          </p:val>
                                        </p:tav>
                                      </p:tavLst>
                                    </p:anim>
                                    <p:animEffect transition="in" filter="fade">
                                      <p:cBhvr>
                                        <p:cTn id="52" dur="500"/>
                                        <p:tgtEl>
                                          <p:spTgt spid="47"/>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childTnLst>
                          </p:cTn>
                        </p:par>
                        <p:par>
                          <p:cTn id="56" fill="hold">
                            <p:stCondLst>
                              <p:cond delay="3000"/>
                            </p:stCondLst>
                            <p:childTnLst>
                              <p:par>
                                <p:cTn id="57" presetID="2" presetClass="entr" presetSubtype="4" decel="100000" fill="hold" grpId="0" nodeType="afterEffect">
                                  <p:stCondLst>
                                    <p:cond delay="0"/>
                                  </p:stCondLst>
                                  <p:childTnLst>
                                    <p:set>
                                      <p:cBhvr>
                                        <p:cTn id="58" dur="1" fill="hold">
                                          <p:stCondLst>
                                            <p:cond delay="0"/>
                                          </p:stCondLst>
                                        </p:cTn>
                                        <p:tgtEl>
                                          <p:spTgt spid="49"/>
                                        </p:tgtEl>
                                        <p:attrNameLst>
                                          <p:attrName>style.visibility</p:attrName>
                                        </p:attrNameLst>
                                      </p:cBhvr>
                                      <p:to>
                                        <p:strVal val="visible"/>
                                      </p:to>
                                    </p:set>
                                    <p:anim calcmode="lin" valueType="num">
                                      <p:cBhvr additive="base">
                                        <p:cTn id="59" dur="500" fill="hold"/>
                                        <p:tgtEl>
                                          <p:spTgt spid="49"/>
                                        </p:tgtEl>
                                        <p:attrNameLst>
                                          <p:attrName>ppt_x</p:attrName>
                                        </p:attrNameLst>
                                      </p:cBhvr>
                                      <p:tavLst>
                                        <p:tav tm="0">
                                          <p:val>
                                            <p:strVal val="#ppt_x"/>
                                          </p:val>
                                        </p:tav>
                                        <p:tav tm="100000">
                                          <p:val>
                                            <p:strVal val="#ppt_x"/>
                                          </p:val>
                                        </p:tav>
                                      </p:tavLst>
                                    </p:anim>
                                    <p:anim calcmode="lin" valueType="num">
                                      <p:cBhvr additive="base">
                                        <p:cTn id="60" dur="500" fill="hold"/>
                                        <p:tgtEl>
                                          <p:spTgt spid="49"/>
                                        </p:tgtEl>
                                        <p:attrNameLst>
                                          <p:attrName>ppt_y</p:attrName>
                                        </p:attrNameLst>
                                      </p:cBhvr>
                                      <p:tavLst>
                                        <p:tav tm="0">
                                          <p:val>
                                            <p:strVal val="1+#ppt_h/2"/>
                                          </p:val>
                                        </p:tav>
                                        <p:tav tm="100000">
                                          <p:val>
                                            <p:strVal val="#ppt_y"/>
                                          </p:val>
                                        </p:tav>
                                      </p:tavLst>
                                    </p:anim>
                                  </p:childTnLst>
                                </p:cTn>
                              </p:par>
                              <p:par>
                                <p:cTn id="61" presetID="53" presetClass="entr" presetSubtype="16" fill="hold" grpId="1" nodeType="withEffect">
                                  <p:stCondLst>
                                    <p:cond delay="0"/>
                                  </p:stCondLst>
                                  <p:childTnLst>
                                    <p:set>
                                      <p:cBhvr>
                                        <p:cTn id="62" dur="1" fill="hold">
                                          <p:stCondLst>
                                            <p:cond delay="0"/>
                                          </p:stCondLst>
                                        </p:cTn>
                                        <p:tgtEl>
                                          <p:spTgt spid="49"/>
                                        </p:tgtEl>
                                        <p:attrNameLst>
                                          <p:attrName>style.visibility</p:attrName>
                                        </p:attrNameLst>
                                      </p:cBhvr>
                                      <p:to>
                                        <p:strVal val="visible"/>
                                      </p:to>
                                    </p:set>
                                    <p:anim calcmode="lin" valueType="num">
                                      <p:cBhvr>
                                        <p:cTn id="63" dur="500" fill="hold"/>
                                        <p:tgtEl>
                                          <p:spTgt spid="49"/>
                                        </p:tgtEl>
                                        <p:attrNameLst>
                                          <p:attrName>ppt_w</p:attrName>
                                        </p:attrNameLst>
                                      </p:cBhvr>
                                      <p:tavLst>
                                        <p:tav tm="0">
                                          <p:val>
                                            <p:fltVal val="0"/>
                                          </p:val>
                                        </p:tav>
                                        <p:tav tm="100000">
                                          <p:val>
                                            <p:strVal val="#ppt_w"/>
                                          </p:val>
                                        </p:tav>
                                      </p:tavLst>
                                    </p:anim>
                                    <p:anim calcmode="lin" valueType="num">
                                      <p:cBhvr>
                                        <p:cTn id="64" dur="500" fill="hold"/>
                                        <p:tgtEl>
                                          <p:spTgt spid="49"/>
                                        </p:tgtEl>
                                        <p:attrNameLst>
                                          <p:attrName>ppt_h</p:attrName>
                                        </p:attrNameLst>
                                      </p:cBhvr>
                                      <p:tavLst>
                                        <p:tav tm="0">
                                          <p:val>
                                            <p:fltVal val="0"/>
                                          </p:val>
                                        </p:tav>
                                        <p:tav tm="100000">
                                          <p:val>
                                            <p:strVal val="#ppt_h"/>
                                          </p:val>
                                        </p:tav>
                                      </p:tavLst>
                                    </p:anim>
                                    <p:animEffect transition="in" filter="fade">
                                      <p:cBhvr>
                                        <p:cTn id="65" dur="500"/>
                                        <p:tgtEl>
                                          <p:spTgt spid="49"/>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childTnLst>
                          </p:cTn>
                        </p:par>
                        <p:par>
                          <p:cTn id="69" fill="hold">
                            <p:stCondLst>
                              <p:cond delay="3750"/>
                            </p:stCondLst>
                            <p:childTnLst>
                              <p:par>
                                <p:cTn id="70" presetID="2" presetClass="entr" presetSubtype="4" decel="100000" fill="hold" grpId="0" nodeType="afterEffect">
                                  <p:stCondLst>
                                    <p:cond delay="0"/>
                                  </p:stCondLst>
                                  <p:childTnLst>
                                    <p:set>
                                      <p:cBhvr>
                                        <p:cTn id="71" dur="1" fill="hold">
                                          <p:stCondLst>
                                            <p:cond delay="0"/>
                                          </p:stCondLst>
                                        </p:cTn>
                                        <p:tgtEl>
                                          <p:spTgt spid="51"/>
                                        </p:tgtEl>
                                        <p:attrNameLst>
                                          <p:attrName>style.visibility</p:attrName>
                                        </p:attrNameLst>
                                      </p:cBhvr>
                                      <p:to>
                                        <p:strVal val="visible"/>
                                      </p:to>
                                    </p:set>
                                    <p:anim calcmode="lin" valueType="num">
                                      <p:cBhvr additive="base">
                                        <p:cTn id="72" dur="500" fill="hold"/>
                                        <p:tgtEl>
                                          <p:spTgt spid="51"/>
                                        </p:tgtEl>
                                        <p:attrNameLst>
                                          <p:attrName>ppt_x</p:attrName>
                                        </p:attrNameLst>
                                      </p:cBhvr>
                                      <p:tavLst>
                                        <p:tav tm="0">
                                          <p:val>
                                            <p:strVal val="#ppt_x"/>
                                          </p:val>
                                        </p:tav>
                                        <p:tav tm="100000">
                                          <p:val>
                                            <p:strVal val="#ppt_x"/>
                                          </p:val>
                                        </p:tav>
                                      </p:tavLst>
                                    </p:anim>
                                    <p:anim calcmode="lin" valueType="num">
                                      <p:cBhvr additive="base">
                                        <p:cTn id="73" dur="500" fill="hold"/>
                                        <p:tgtEl>
                                          <p:spTgt spid="51"/>
                                        </p:tgtEl>
                                        <p:attrNameLst>
                                          <p:attrName>ppt_y</p:attrName>
                                        </p:attrNameLst>
                                      </p:cBhvr>
                                      <p:tavLst>
                                        <p:tav tm="0">
                                          <p:val>
                                            <p:strVal val="1+#ppt_h/2"/>
                                          </p:val>
                                        </p:tav>
                                        <p:tav tm="100000">
                                          <p:val>
                                            <p:strVal val="#ppt_y"/>
                                          </p:val>
                                        </p:tav>
                                      </p:tavLst>
                                    </p:anim>
                                  </p:childTnLst>
                                </p:cTn>
                              </p:par>
                              <p:par>
                                <p:cTn id="74" presetID="53" presetClass="entr" presetSubtype="16" fill="hold" grpId="1" nodeType="withEffect">
                                  <p:stCondLst>
                                    <p:cond delay="0"/>
                                  </p:stCondLst>
                                  <p:childTnLst>
                                    <p:set>
                                      <p:cBhvr>
                                        <p:cTn id="75" dur="1" fill="hold">
                                          <p:stCondLst>
                                            <p:cond delay="0"/>
                                          </p:stCondLst>
                                        </p:cTn>
                                        <p:tgtEl>
                                          <p:spTgt spid="51"/>
                                        </p:tgtEl>
                                        <p:attrNameLst>
                                          <p:attrName>style.visibility</p:attrName>
                                        </p:attrNameLst>
                                      </p:cBhvr>
                                      <p:to>
                                        <p:strVal val="visible"/>
                                      </p:to>
                                    </p:set>
                                    <p:anim calcmode="lin" valueType="num">
                                      <p:cBhvr>
                                        <p:cTn id="76" dur="500" fill="hold"/>
                                        <p:tgtEl>
                                          <p:spTgt spid="51"/>
                                        </p:tgtEl>
                                        <p:attrNameLst>
                                          <p:attrName>ppt_w</p:attrName>
                                        </p:attrNameLst>
                                      </p:cBhvr>
                                      <p:tavLst>
                                        <p:tav tm="0">
                                          <p:val>
                                            <p:fltVal val="0"/>
                                          </p:val>
                                        </p:tav>
                                        <p:tav tm="100000">
                                          <p:val>
                                            <p:strVal val="#ppt_w"/>
                                          </p:val>
                                        </p:tav>
                                      </p:tavLst>
                                    </p:anim>
                                    <p:anim calcmode="lin" valueType="num">
                                      <p:cBhvr>
                                        <p:cTn id="77" dur="500" fill="hold"/>
                                        <p:tgtEl>
                                          <p:spTgt spid="51"/>
                                        </p:tgtEl>
                                        <p:attrNameLst>
                                          <p:attrName>ppt_h</p:attrName>
                                        </p:attrNameLst>
                                      </p:cBhvr>
                                      <p:tavLst>
                                        <p:tav tm="0">
                                          <p:val>
                                            <p:fltVal val="0"/>
                                          </p:val>
                                        </p:tav>
                                        <p:tav tm="100000">
                                          <p:val>
                                            <p:strVal val="#ppt_h"/>
                                          </p:val>
                                        </p:tav>
                                      </p:tavLst>
                                    </p:anim>
                                    <p:animEffect transition="in" filter="fade">
                                      <p:cBhvr>
                                        <p:cTn id="78" dur="500"/>
                                        <p:tgtEl>
                                          <p:spTgt spid="51"/>
                                        </p:tgtEl>
                                      </p:cBhvr>
                                    </p:animEffect>
                                  </p:childTnLst>
                                </p:cTn>
                              </p:par>
                              <p:par>
                                <p:cTn id="79" presetID="10" presetClass="entr" presetSubtype="0" fill="hold" grpId="0" nodeType="withEffect">
                                  <p:stCondLst>
                                    <p:cond delay="250"/>
                                  </p:stCondLst>
                                  <p:childTnLst>
                                    <p:set>
                                      <p:cBhvr>
                                        <p:cTn id="80" dur="1" fill="hold">
                                          <p:stCondLst>
                                            <p:cond delay="0"/>
                                          </p:stCondLst>
                                        </p:cTn>
                                        <p:tgtEl>
                                          <p:spTgt spid="52"/>
                                        </p:tgtEl>
                                        <p:attrNameLst>
                                          <p:attrName>style.visibility</p:attrName>
                                        </p:attrNameLst>
                                      </p:cBhvr>
                                      <p:to>
                                        <p:strVal val="visible"/>
                                      </p:to>
                                    </p:set>
                                    <p:animEffect transition="in" filter="fade">
                                      <p:cBhvr>
                                        <p:cTn id="8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tmplLst>
          <p:tmpl>
            <p:tnLst>
              <p:par>
                <p:cTn presetID="2" presetClass="entr" presetSubtype="4" decel="10000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fill="hold"/>
                        <p:tgtEl>
                          <p:spTgt spid="15"/>
                        </p:tgtEl>
                        <p:attrNameLst>
                          <p:attrName>ppt_x</p:attrName>
                        </p:attrNameLst>
                      </p:cBhvr>
                      <p:tavLst>
                        <p:tav tm="0">
                          <p:val>
                            <p:strVal val="#ppt_x"/>
                          </p:val>
                        </p:tav>
                        <p:tav tm="100000">
                          <p:val>
                            <p:strVal val="#ppt_x"/>
                          </p:val>
                        </p:tav>
                      </p:tavLst>
                    </p:anim>
                    <p:anim calcmode="lin" valueType="num">
                      <p:cBhvr additive="base">
                        <p:cTn dur="500" fill="hold"/>
                        <p:tgtEl>
                          <p:spTgt spid="15"/>
                        </p:tgtEl>
                        <p:attrNameLst>
                          <p:attrName>ppt_y</p:attrName>
                        </p:attrNameLst>
                      </p:cBhvr>
                      <p:tavLst>
                        <p:tav tm="0">
                          <p:val>
                            <p:strVal val="1+#ppt_h/2"/>
                          </p:val>
                        </p:tav>
                        <p:tav tm="100000">
                          <p:val>
                            <p:strVal val="#ppt_y"/>
                          </p:val>
                        </p:tav>
                      </p:tavLst>
                    </p:anim>
                  </p:childTnLst>
                </p:cTn>
              </p:par>
            </p:tnLst>
          </p:tmpl>
        </p:tmplLst>
      </p:bldP>
      <p:bldP spid="15" grpId="1" animBg="1"/>
      <p:bldP spid="16" grpId="0"/>
      <p:bldP spid="17" grpId="0" animBg="1">
        <p:tmplLst>
          <p:tmpl>
            <p:tnLst>
              <p:par>
                <p:cTn presetID="2" presetClass="entr" presetSubtype="4" decel="10000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500" fill="hold"/>
                        <p:tgtEl>
                          <p:spTgt spid="17"/>
                        </p:tgtEl>
                        <p:attrNameLst>
                          <p:attrName>ppt_x</p:attrName>
                        </p:attrNameLst>
                      </p:cBhvr>
                      <p:tavLst>
                        <p:tav tm="0">
                          <p:val>
                            <p:strVal val="#ppt_x"/>
                          </p:val>
                        </p:tav>
                        <p:tav tm="100000">
                          <p:val>
                            <p:strVal val="#ppt_x"/>
                          </p:val>
                        </p:tav>
                      </p:tavLst>
                    </p:anim>
                    <p:anim calcmode="lin" valueType="num">
                      <p:cBhvr additive="base">
                        <p:cTn dur="500" fill="hold"/>
                        <p:tgtEl>
                          <p:spTgt spid="17"/>
                        </p:tgtEl>
                        <p:attrNameLst>
                          <p:attrName>ppt_y</p:attrName>
                        </p:attrNameLst>
                      </p:cBhvr>
                      <p:tavLst>
                        <p:tav tm="0">
                          <p:val>
                            <p:strVal val="1+#ppt_h/2"/>
                          </p:val>
                        </p:tav>
                        <p:tav tm="100000">
                          <p:val>
                            <p:strVal val="#ppt_y"/>
                          </p:val>
                        </p:tav>
                      </p:tavLst>
                    </p:anim>
                  </p:childTnLst>
                </p:cTn>
              </p:par>
            </p:tnLst>
          </p:tmpl>
        </p:tmplLst>
      </p:bldP>
      <p:bldP spid="17" grpId="1" animBg="1"/>
      <p:bldP spid="18" grpId="0"/>
      <p:bldP spid="19" grpId="0" animBg="1">
        <p:tmplLst>
          <p:tmpl>
            <p:tnLst>
              <p:par>
                <p:cTn presetID="2" presetClass="entr" presetSubtype="4" decel="10000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500" fill="hold"/>
                        <p:tgtEl>
                          <p:spTgt spid="19"/>
                        </p:tgtEl>
                        <p:attrNameLst>
                          <p:attrName>ppt_x</p:attrName>
                        </p:attrNameLst>
                      </p:cBhvr>
                      <p:tavLst>
                        <p:tav tm="0">
                          <p:val>
                            <p:strVal val="#ppt_x"/>
                          </p:val>
                        </p:tav>
                        <p:tav tm="100000">
                          <p:val>
                            <p:strVal val="#ppt_x"/>
                          </p:val>
                        </p:tav>
                      </p:tavLst>
                    </p:anim>
                    <p:anim calcmode="lin" valueType="num">
                      <p:cBhvr additive="base">
                        <p:cTn dur="500" fill="hold"/>
                        <p:tgtEl>
                          <p:spTgt spid="19"/>
                        </p:tgtEl>
                        <p:attrNameLst>
                          <p:attrName>ppt_y</p:attrName>
                        </p:attrNameLst>
                      </p:cBhvr>
                      <p:tavLst>
                        <p:tav tm="0">
                          <p:val>
                            <p:strVal val="1+#ppt_h/2"/>
                          </p:val>
                        </p:tav>
                        <p:tav tm="100000">
                          <p:val>
                            <p:strVal val="#ppt_y"/>
                          </p:val>
                        </p:tav>
                      </p:tavLst>
                    </p:anim>
                  </p:childTnLst>
                </p:cTn>
              </p:par>
            </p:tnLst>
          </p:tmpl>
        </p:tmplLst>
      </p:bldP>
      <p:bldP spid="19" grpId="1" animBg="1"/>
      <p:bldP spid="20" grpId="0"/>
      <p:bldP spid="47" grpId="0" animBg="1">
        <p:tmplLst>
          <p:tmpl>
            <p:tnLst>
              <p:par>
                <p:cTn presetID="2" presetClass="entr" presetSubtype="4" decel="10000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 calcmode="lin" valueType="num">
                      <p:cBhvr additive="base">
                        <p:cTn dur="500" fill="hold"/>
                        <p:tgtEl>
                          <p:spTgt spid="47"/>
                        </p:tgtEl>
                        <p:attrNameLst>
                          <p:attrName>ppt_x</p:attrName>
                        </p:attrNameLst>
                      </p:cBhvr>
                      <p:tavLst>
                        <p:tav tm="0">
                          <p:val>
                            <p:strVal val="#ppt_x"/>
                          </p:val>
                        </p:tav>
                        <p:tav tm="100000">
                          <p:val>
                            <p:strVal val="#ppt_x"/>
                          </p:val>
                        </p:tav>
                      </p:tavLst>
                    </p:anim>
                    <p:anim calcmode="lin" valueType="num">
                      <p:cBhvr additive="base">
                        <p:cTn dur="500" fill="hold"/>
                        <p:tgtEl>
                          <p:spTgt spid="47"/>
                        </p:tgtEl>
                        <p:attrNameLst>
                          <p:attrName>ppt_y</p:attrName>
                        </p:attrNameLst>
                      </p:cBhvr>
                      <p:tavLst>
                        <p:tav tm="0">
                          <p:val>
                            <p:strVal val="1+#ppt_h/2"/>
                          </p:val>
                        </p:tav>
                        <p:tav tm="100000">
                          <p:val>
                            <p:strVal val="#ppt_y"/>
                          </p:val>
                        </p:tav>
                      </p:tavLst>
                    </p:anim>
                  </p:childTnLst>
                </p:cTn>
              </p:par>
            </p:tnLst>
          </p:tmpl>
        </p:tmplLst>
      </p:bldP>
      <p:bldP spid="47" grpId="1" animBg="1"/>
      <p:bldP spid="48" grpId="0"/>
      <p:bldP spid="49" grpId="0" animBg="1">
        <p:tmplLst>
          <p:tmpl>
            <p:tnLst>
              <p:par>
                <p:cTn presetID="2" presetClass="entr" presetSubtype="4" decel="10000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 calcmode="lin" valueType="num">
                      <p:cBhvr additive="base">
                        <p:cTn dur="500" fill="hold"/>
                        <p:tgtEl>
                          <p:spTgt spid="49"/>
                        </p:tgtEl>
                        <p:attrNameLst>
                          <p:attrName>ppt_x</p:attrName>
                        </p:attrNameLst>
                      </p:cBhvr>
                      <p:tavLst>
                        <p:tav tm="0">
                          <p:val>
                            <p:strVal val="#ppt_x"/>
                          </p:val>
                        </p:tav>
                        <p:tav tm="100000">
                          <p:val>
                            <p:strVal val="#ppt_x"/>
                          </p:val>
                        </p:tav>
                      </p:tavLst>
                    </p:anim>
                    <p:anim calcmode="lin" valueType="num">
                      <p:cBhvr additive="base">
                        <p:cTn dur="500" fill="hold"/>
                        <p:tgtEl>
                          <p:spTgt spid="49"/>
                        </p:tgtEl>
                        <p:attrNameLst>
                          <p:attrName>ppt_y</p:attrName>
                        </p:attrNameLst>
                      </p:cBhvr>
                      <p:tavLst>
                        <p:tav tm="0">
                          <p:val>
                            <p:strVal val="1+#ppt_h/2"/>
                          </p:val>
                        </p:tav>
                        <p:tav tm="100000">
                          <p:val>
                            <p:strVal val="#ppt_y"/>
                          </p:val>
                        </p:tav>
                      </p:tavLst>
                    </p:anim>
                  </p:childTnLst>
                </p:cTn>
              </p:par>
            </p:tnLst>
          </p:tmpl>
        </p:tmplLst>
      </p:bldP>
      <p:bldP spid="49" grpId="1" animBg="1"/>
      <p:bldP spid="50" grpId="0"/>
      <p:bldP spid="51" grpId="0" animBg="1">
        <p:tmplLst>
          <p:tmpl>
            <p:tnLst>
              <p:par>
                <p:cTn presetID="2" presetClass="entr" presetSubtype="4" decel="10000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 calcmode="lin" valueType="num">
                      <p:cBhvr additive="base">
                        <p:cTn dur="500" fill="hold"/>
                        <p:tgtEl>
                          <p:spTgt spid="51"/>
                        </p:tgtEl>
                        <p:attrNameLst>
                          <p:attrName>ppt_x</p:attrName>
                        </p:attrNameLst>
                      </p:cBhvr>
                      <p:tavLst>
                        <p:tav tm="0">
                          <p:val>
                            <p:strVal val="#ppt_x"/>
                          </p:val>
                        </p:tav>
                        <p:tav tm="100000">
                          <p:val>
                            <p:strVal val="#ppt_x"/>
                          </p:val>
                        </p:tav>
                      </p:tavLst>
                    </p:anim>
                    <p:anim calcmode="lin" valueType="num">
                      <p:cBhvr additive="base">
                        <p:cTn dur="500" fill="hold"/>
                        <p:tgtEl>
                          <p:spTgt spid="51"/>
                        </p:tgtEl>
                        <p:attrNameLst>
                          <p:attrName>ppt_y</p:attrName>
                        </p:attrNameLst>
                      </p:cBhvr>
                      <p:tavLst>
                        <p:tav tm="0">
                          <p:val>
                            <p:strVal val="1+#ppt_h/2"/>
                          </p:val>
                        </p:tav>
                        <p:tav tm="100000">
                          <p:val>
                            <p:strVal val="#ppt_y"/>
                          </p:val>
                        </p:tav>
                      </p:tavLst>
                    </p:anim>
                  </p:childTnLst>
                </p:cTn>
              </p:par>
            </p:tnLst>
          </p:tmpl>
        </p:tmplLst>
      </p:bldP>
      <p:bldP spid="51" grpId="1" animBg="1"/>
      <p:bldP spid="52" grpId="0"/>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conenslide_3_Items">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14D55077-9C2C-4B97-86F5-DF09E316DCA8}"/>
              </a:ext>
            </a:extLst>
          </p:cNvPr>
          <p:cNvSpPr>
            <a:spLocks noGrp="1"/>
          </p:cNvSpPr>
          <p:nvPr>
            <p:ph type="body" sz="quarter" idx="10" hasCustomPrompt="1"/>
          </p:nvPr>
        </p:nvSpPr>
        <p:spPr>
          <a:xfrm>
            <a:off x="890239"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1 toe te voegen</a:t>
            </a:r>
            <a:endParaRPr lang="en-BE" dirty="0"/>
          </a:p>
        </p:txBody>
      </p:sp>
      <p:sp>
        <p:nvSpPr>
          <p:cNvPr id="16" name="Tijdelijke aanduiding voor tekst 5">
            <a:extLst>
              <a:ext uri="{FF2B5EF4-FFF2-40B4-BE49-F238E27FC236}">
                <a16:creationId xmlns:a16="http://schemas.microsoft.com/office/drawing/2014/main" id="{4E08617D-D4DF-44AA-B90A-CF03870C0FDD}"/>
              </a:ext>
            </a:extLst>
          </p:cNvPr>
          <p:cNvSpPr>
            <a:spLocks noGrp="1"/>
          </p:cNvSpPr>
          <p:nvPr>
            <p:ph type="body" sz="quarter" idx="11" hasCustomPrompt="1"/>
          </p:nvPr>
        </p:nvSpPr>
        <p:spPr>
          <a:xfrm>
            <a:off x="4779613"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2 toe te voegen</a:t>
            </a:r>
            <a:endParaRPr lang="en-BE" dirty="0"/>
          </a:p>
        </p:txBody>
      </p:sp>
      <p:sp>
        <p:nvSpPr>
          <p:cNvPr id="17" name="Tijdelijke aanduiding voor tekst 5">
            <a:extLst>
              <a:ext uri="{FF2B5EF4-FFF2-40B4-BE49-F238E27FC236}">
                <a16:creationId xmlns:a16="http://schemas.microsoft.com/office/drawing/2014/main" id="{0F472A18-073F-455F-A5E1-EE1B3FCC15FF}"/>
              </a:ext>
            </a:extLst>
          </p:cNvPr>
          <p:cNvSpPr>
            <a:spLocks noGrp="1"/>
          </p:cNvSpPr>
          <p:nvPr>
            <p:ph type="body" sz="quarter" idx="12" hasCustomPrompt="1"/>
          </p:nvPr>
        </p:nvSpPr>
        <p:spPr>
          <a:xfrm>
            <a:off x="8668988" y="3641147"/>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3 toe te voegen</a:t>
            </a:r>
            <a:endParaRPr lang="en-BE" dirty="0"/>
          </a:p>
        </p:txBody>
      </p:sp>
      <p:sp>
        <p:nvSpPr>
          <p:cNvPr id="9" name="Tijdelijke aanduiding voor SmartArt 8">
            <a:extLst>
              <a:ext uri="{FF2B5EF4-FFF2-40B4-BE49-F238E27FC236}">
                <a16:creationId xmlns:a16="http://schemas.microsoft.com/office/drawing/2014/main" id="{7EA68BE6-457C-44F1-BBED-89A509124CD4}"/>
              </a:ext>
            </a:extLst>
          </p:cNvPr>
          <p:cNvSpPr>
            <a:spLocks noGrp="1"/>
          </p:cNvSpPr>
          <p:nvPr>
            <p:ph type="dgm" sz="quarter" idx="17" hasCustomPrompt="1"/>
          </p:nvPr>
        </p:nvSpPr>
        <p:spPr>
          <a:xfrm>
            <a:off x="890588" y="2121897"/>
            <a:ext cx="1636712" cy="1636712"/>
          </a:xfrm>
          <a:prstGeom prst="rect">
            <a:avLst/>
          </a:prstGeom>
        </p:spPr>
        <p:txBody>
          <a:bodyPr anchor="ctr"/>
          <a:lstStyle>
            <a:lvl1pPr marL="0" indent="0" algn="ctr">
              <a:buNone/>
              <a:defRPr sz="1800" baseline="0"/>
            </a:lvl1pPr>
          </a:lstStyle>
          <a:p>
            <a:r>
              <a:rPr lang="en-GB" dirty="0" err="1"/>
              <a:t>Icoon</a:t>
            </a:r>
            <a:r>
              <a:rPr lang="en-GB" dirty="0"/>
              <a:t> 1</a:t>
            </a:r>
            <a:endParaRPr lang="en-BE" dirty="0"/>
          </a:p>
        </p:txBody>
      </p:sp>
      <p:sp>
        <p:nvSpPr>
          <p:cNvPr id="26" name="Tijdelijke aanduiding voor SmartArt 8">
            <a:extLst>
              <a:ext uri="{FF2B5EF4-FFF2-40B4-BE49-F238E27FC236}">
                <a16:creationId xmlns:a16="http://schemas.microsoft.com/office/drawing/2014/main" id="{20231F53-AF66-41C3-ABB3-C7460725331E}"/>
              </a:ext>
            </a:extLst>
          </p:cNvPr>
          <p:cNvSpPr>
            <a:spLocks noGrp="1"/>
          </p:cNvSpPr>
          <p:nvPr>
            <p:ph type="dgm" sz="quarter" idx="18" hasCustomPrompt="1"/>
          </p:nvPr>
        </p:nvSpPr>
        <p:spPr>
          <a:xfrm>
            <a:off x="4779613" y="2121897"/>
            <a:ext cx="1636712" cy="1636712"/>
          </a:xfrm>
          <a:prstGeom prst="rect">
            <a:avLst/>
          </a:prstGeom>
        </p:spPr>
        <p:txBody>
          <a:bodyPr anchor="ctr"/>
          <a:lstStyle>
            <a:lvl1pPr marL="0" indent="0" algn="ctr">
              <a:buNone/>
              <a:defRPr sz="1800"/>
            </a:lvl1pPr>
          </a:lstStyle>
          <a:p>
            <a:r>
              <a:rPr lang="en-GB" dirty="0" err="1"/>
              <a:t>Icoon</a:t>
            </a:r>
            <a:r>
              <a:rPr lang="en-GB" dirty="0"/>
              <a:t> 2</a:t>
            </a:r>
            <a:endParaRPr lang="en-BE" dirty="0"/>
          </a:p>
        </p:txBody>
      </p:sp>
      <p:sp>
        <p:nvSpPr>
          <p:cNvPr id="27" name="Tijdelijke aanduiding voor SmartArt 8">
            <a:extLst>
              <a:ext uri="{FF2B5EF4-FFF2-40B4-BE49-F238E27FC236}">
                <a16:creationId xmlns:a16="http://schemas.microsoft.com/office/drawing/2014/main" id="{3C023902-C8F0-4389-87F8-8863FE2847C9}"/>
              </a:ext>
            </a:extLst>
          </p:cNvPr>
          <p:cNvSpPr>
            <a:spLocks noGrp="1"/>
          </p:cNvSpPr>
          <p:nvPr>
            <p:ph type="dgm" sz="quarter" idx="19" hasCustomPrompt="1"/>
          </p:nvPr>
        </p:nvSpPr>
        <p:spPr>
          <a:xfrm>
            <a:off x="8668639" y="2121897"/>
            <a:ext cx="1636712" cy="1636712"/>
          </a:xfrm>
          <a:prstGeom prst="rect">
            <a:avLst/>
          </a:prstGeom>
        </p:spPr>
        <p:txBody>
          <a:bodyPr anchor="ctr"/>
          <a:lstStyle>
            <a:lvl1pPr marL="0" indent="0" algn="ctr">
              <a:buNone/>
              <a:defRPr sz="1800"/>
            </a:lvl1pPr>
          </a:lstStyle>
          <a:p>
            <a:r>
              <a:rPr lang="en-GB" dirty="0" err="1"/>
              <a:t>Icoon</a:t>
            </a:r>
            <a:r>
              <a:rPr lang="en-GB" dirty="0"/>
              <a:t> 3</a:t>
            </a:r>
            <a:endParaRPr lang="en-BE" dirty="0"/>
          </a:p>
        </p:txBody>
      </p:sp>
      <p:sp>
        <p:nvSpPr>
          <p:cNvPr id="2" name="Titel 1">
            <a:extLst>
              <a:ext uri="{FF2B5EF4-FFF2-40B4-BE49-F238E27FC236}">
                <a16:creationId xmlns:a16="http://schemas.microsoft.com/office/drawing/2014/main" id="{C5FF061F-973B-46E1-9F05-CF9B8C950620}"/>
              </a:ext>
            </a:extLst>
          </p:cNvPr>
          <p:cNvSpPr>
            <a:spLocks noGrp="1"/>
          </p:cNvSpPr>
          <p:nvPr>
            <p:ph type="title"/>
          </p:nvPr>
        </p:nvSpPr>
        <p:spPr/>
        <p:txBody>
          <a:bodyPr/>
          <a:lstStyle/>
          <a:p>
            <a:r>
              <a:rPr lang="en-US"/>
              <a:t>Click to edit Master title style</a:t>
            </a:r>
            <a:endParaRPr lang="en-GB" dirty="0"/>
          </a:p>
        </p:txBody>
      </p:sp>
      <p:sp>
        <p:nvSpPr>
          <p:cNvPr id="3" name="Tijdelijke aanduiding voor voettekst 2">
            <a:extLst>
              <a:ext uri="{FF2B5EF4-FFF2-40B4-BE49-F238E27FC236}">
                <a16:creationId xmlns:a16="http://schemas.microsoft.com/office/drawing/2014/main" id="{AEF46BFE-CDE3-4642-BA02-792065288893}"/>
              </a:ext>
            </a:extLst>
          </p:cNvPr>
          <p:cNvSpPr>
            <a:spLocks noGrp="1"/>
          </p:cNvSpPr>
          <p:nvPr>
            <p:ph type="ftr" sz="quarter" idx="2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788A1D2B-F104-45FD-AA41-6BCC37C2B0CC}"/>
              </a:ext>
            </a:extLst>
          </p:cNvPr>
          <p:cNvSpPr>
            <a:spLocks noGrp="1"/>
          </p:cNvSpPr>
          <p:nvPr>
            <p:ph type="sldNum" sz="quarter" idx="21"/>
          </p:nvPr>
        </p:nvSpPr>
        <p:spPr/>
        <p:txBody>
          <a:bodyPr/>
          <a:lstStyle/>
          <a:p>
            <a:fld id="{761B7991-791C-44D3-A34B-0516733EAC00}" type="slidenum">
              <a:rPr lang="en-GB" smtClean="0"/>
              <a:t>‹#›</a:t>
            </a:fld>
            <a:endParaRPr lang="en-GB" dirty="0"/>
          </a:p>
        </p:txBody>
      </p:sp>
      <p:sp>
        <p:nvSpPr>
          <p:cNvPr id="7" name="Tijdelijke aanduiding voor tekst 6">
            <a:extLst>
              <a:ext uri="{FF2B5EF4-FFF2-40B4-BE49-F238E27FC236}">
                <a16:creationId xmlns:a16="http://schemas.microsoft.com/office/drawing/2014/main" id="{AC99B72F-0E3D-4DC7-AB27-B4A6D5F7EE60}"/>
              </a:ext>
            </a:extLst>
          </p:cNvPr>
          <p:cNvSpPr>
            <a:spLocks noGrp="1"/>
          </p:cNvSpPr>
          <p:nvPr>
            <p:ph type="body" sz="quarter" idx="22"/>
          </p:nvPr>
        </p:nvSpPr>
        <p:spPr>
          <a:xfrm>
            <a:off x="890239"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2" name="Tijdelijke aanduiding voor tekst 6">
            <a:extLst>
              <a:ext uri="{FF2B5EF4-FFF2-40B4-BE49-F238E27FC236}">
                <a16:creationId xmlns:a16="http://schemas.microsoft.com/office/drawing/2014/main" id="{2FDC2CED-B505-4674-B170-D2D189C039A4}"/>
              </a:ext>
            </a:extLst>
          </p:cNvPr>
          <p:cNvSpPr>
            <a:spLocks noGrp="1"/>
          </p:cNvSpPr>
          <p:nvPr>
            <p:ph type="body" sz="quarter" idx="23"/>
          </p:nvPr>
        </p:nvSpPr>
        <p:spPr>
          <a:xfrm>
            <a:off x="4779613"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4" name="Tijdelijke aanduiding voor tekst 6">
            <a:extLst>
              <a:ext uri="{FF2B5EF4-FFF2-40B4-BE49-F238E27FC236}">
                <a16:creationId xmlns:a16="http://schemas.microsoft.com/office/drawing/2014/main" id="{381B417B-E310-4277-947B-72D4B3623093}"/>
              </a:ext>
            </a:extLst>
          </p:cNvPr>
          <p:cNvSpPr>
            <a:spLocks noGrp="1"/>
          </p:cNvSpPr>
          <p:nvPr>
            <p:ph type="body" sz="quarter" idx="24"/>
          </p:nvPr>
        </p:nvSpPr>
        <p:spPr>
          <a:xfrm>
            <a:off x="8668639" y="4907947"/>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1574761450"/>
      </p:ext>
    </p:extLst>
  </p:cSld>
  <p:clrMapOvr>
    <a:masterClrMapping/>
  </p:clrMapOvr>
  <p:transition spd="slow">
    <p:cover/>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164">
          <p15:clr>
            <a:srgbClr val="FBAE40"/>
          </p15:clr>
        </p15:guide>
        <p15:guide id="4" orient="horz" pos="4156">
          <p15:clr>
            <a:srgbClr val="FBAE40"/>
          </p15:clr>
        </p15:guide>
        <p15:guide id="5" pos="167">
          <p15:clr>
            <a:srgbClr val="FBAE40"/>
          </p15:clr>
        </p15:guide>
        <p15:guide id="6" pos="751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conenslide_4_Items">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14D55077-9C2C-4B97-86F5-DF09E316DCA8}"/>
              </a:ext>
            </a:extLst>
          </p:cNvPr>
          <p:cNvSpPr>
            <a:spLocks noGrp="1"/>
          </p:cNvSpPr>
          <p:nvPr>
            <p:ph type="body" sz="quarter" idx="10" hasCustomPrompt="1"/>
          </p:nvPr>
        </p:nvSpPr>
        <p:spPr>
          <a:xfrm>
            <a:off x="481223"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1 toe te voegen</a:t>
            </a:r>
            <a:endParaRPr lang="en-BE" dirty="0"/>
          </a:p>
        </p:txBody>
      </p:sp>
      <p:sp>
        <p:nvSpPr>
          <p:cNvPr id="16" name="Tijdelijke aanduiding voor tekst 5">
            <a:extLst>
              <a:ext uri="{FF2B5EF4-FFF2-40B4-BE49-F238E27FC236}">
                <a16:creationId xmlns:a16="http://schemas.microsoft.com/office/drawing/2014/main" id="{4E08617D-D4DF-44AA-B90A-CF03870C0FDD}"/>
              </a:ext>
            </a:extLst>
          </p:cNvPr>
          <p:cNvSpPr>
            <a:spLocks noGrp="1"/>
          </p:cNvSpPr>
          <p:nvPr>
            <p:ph type="body" sz="quarter" idx="11" hasCustomPrompt="1"/>
          </p:nvPr>
        </p:nvSpPr>
        <p:spPr>
          <a:xfrm>
            <a:off x="3397461"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2 toe te voegen</a:t>
            </a:r>
            <a:endParaRPr lang="en-BE" dirty="0"/>
          </a:p>
        </p:txBody>
      </p:sp>
      <p:sp>
        <p:nvSpPr>
          <p:cNvPr id="17" name="Tijdelijke aanduiding voor tekst 5">
            <a:extLst>
              <a:ext uri="{FF2B5EF4-FFF2-40B4-BE49-F238E27FC236}">
                <a16:creationId xmlns:a16="http://schemas.microsoft.com/office/drawing/2014/main" id="{0F472A18-073F-455F-A5E1-EE1B3FCC15FF}"/>
              </a:ext>
            </a:extLst>
          </p:cNvPr>
          <p:cNvSpPr>
            <a:spLocks noGrp="1"/>
          </p:cNvSpPr>
          <p:nvPr>
            <p:ph type="body" sz="quarter" idx="12" hasCustomPrompt="1"/>
          </p:nvPr>
        </p:nvSpPr>
        <p:spPr>
          <a:xfrm>
            <a:off x="6313699"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3 toe te voegen</a:t>
            </a:r>
            <a:endParaRPr lang="en-BE" dirty="0"/>
          </a:p>
        </p:txBody>
      </p:sp>
      <p:sp>
        <p:nvSpPr>
          <p:cNvPr id="14" name="Tijdelijke aanduiding voor tekst 5">
            <a:extLst>
              <a:ext uri="{FF2B5EF4-FFF2-40B4-BE49-F238E27FC236}">
                <a16:creationId xmlns:a16="http://schemas.microsoft.com/office/drawing/2014/main" id="{441213FE-5658-4442-A2B2-CC9988369865}"/>
              </a:ext>
            </a:extLst>
          </p:cNvPr>
          <p:cNvSpPr>
            <a:spLocks noGrp="1"/>
          </p:cNvSpPr>
          <p:nvPr>
            <p:ph type="body" sz="quarter" idx="20" hasCustomPrompt="1"/>
          </p:nvPr>
        </p:nvSpPr>
        <p:spPr>
          <a:xfrm>
            <a:off x="9229936" y="3429000"/>
            <a:ext cx="2655000" cy="1028700"/>
          </a:xfrm>
          <a:prstGeom prst="rect">
            <a:avLst/>
          </a:prstGeom>
        </p:spPr>
        <p:txBody>
          <a:bodyPr lIns="0" rIns="0" anchor="b"/>
          <a:lstStyle>
            <a:lvl1pPr marL="0" indent="0">
              <a:buNone/>
              <a:defRPr sz="1800" b="1" cap="none" baseline="0">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nl-BE" dirty="0"/>
              <a:t>Klik hier om de titel van item 4 toe te voegen</a:t>
            </a:r>
            <a:endParaRPr lang="en-BE" dirty="0"/>
          </a:p>
        </p:txBody>
      </p:sp>
      <p:sp>
        <p:nvSpPr>
          <p:cNvPr id="25" name="Tijdelijke aanduiding voor SmartArt 8">
            <a:extLst>
              <a:ext uri="{FF2B5EF4-FFF2-40B4-BE49-F238E27FC236}">
                <a16:creationId xmlns:a16="http://schemas.microsoft.com/office/drawing/2014/main" id="{77A7708E-4C93-416F-B577-F344F26B89FE}"/>
              </a:ext>
            </a:extLst>
          </p:cNvPr>
          <p:cNvSpPr>
            <a:spLocks noGrp="1"/>
          </p:cNvSpPr>
          <p:nvPr>
            <p:ph type="dgm" sz="quarter" idx="17" hasCustomPrompt="1"/>
          </p:nvPr>
        </p:nvSpPr>
        <p:spPr>
          <a:xfrm>
            <a:off x="481223" y="2243336"/>
            <a:ext cx="1337843" cy="1337842"/>
          </a:xfrm>
          <a:prstGeom prst="rect">
            <a:avLst/>
          </a:prstGeom>
        </p:spPr>
        <p:txBody>
          <a:bodyPr anchor="ctr"/>
          <a:lstStyle>
            <a:lvl1pPr marL="0" indent="0" algn="ctr">
              <a:buNone/>
              <a:defRPr sz="1800" baseline="0"/>
            </a:lvl1pPr>
          </a:lstStyle>
          <a:p>
            <a:r>
              <a:rPr lang="en-GB" dirty="0" err="1"/>
              <a:t>Icoon</a:t>
            </a:r>
            <a:r>
              <a:rPr lang="en-GB" dirty="0"/>
              <a:t> 1</a:t>
            </a:r>
            <a:endParaRPr lang="en-BE" dirty="0"/>
          </a:p>
        </p:txBody>
      </p:sp>
      <p:sp>
        <p:nvSpPr>
          <p:cNvPr id="26" name="Tijdelijke aanduiding voor SmartArt 8">
            <a:extLst>
              <a:ext uri="{FF2B5EF4-FFF2-40B4-BE49-F238E27FC236}">
                <a16:creationId xmlns:a16="http://schemas.microsoft.com/office/drawing/2014/main" id="{90301D7C-51EF-4D1C-B3D1-362270B1ADEB}"/>
              </a:ext>
            </a:extLst>
          </p:cNvPr>
          <p:cNvSpPr>
            <a:spLocks noGrp="1"/>
          </p:cNvSpPr>
          <p:nvPr>
            <p:ph type="dgm" sz="quarter" idx="18" hasCustomPrompt="1"/>
          </p:nvPr>
        </p:nvSpPr>
        <p:spPr>
          <a:xfrm>
            <a:off x="3397461" y="2243336"/>
            <a:ext cx="1337843" cy="1337842"/>
          </a:xfrm>
          <a:prstGeom prst="rect">
            <a:avLst/>
          </a:prstGeom>
        </p:spPr>
        <p:txBody>
          <a:bodyPr anchor="ctr"/>
          <a:lstStyle>
            <a:lvl1pPr marL="0" indent="0" algn="ctr">
              <a:buNone/>
              <a:defRPr sz="1800"/>
            </a:lvl1pPr>
          </a:lstStyle>
          <a:p>
            <a:r>
              <a:rPr lang="en-GB" dirty="0" err="1"/>
              <a:t>Icoon</a:t>
            </a:r>
            <a:r>
              <a:rPr lang="en-GB" dirty="0"/>
              <a:t> 2</a:t>
            </a:r>
            <a:endParaRPr lang="en-BE" dirty="0"/>
          </a:p>
        </p:txBody>
      </p:sp>
      <p:sp>
        <p:nvSpPr>
          <p:cNvPr id="27" name="Tijdelijke aanduiding voor SmartArt 8">
            <a:extLst>
              <a:ext uri="{FF2B5EF4-FFF2-40B4-BE49-F238E27FC236}">
                <a16:creationId xmlns:a16="http://schemas.microsoft.com/office/drawing/2014/main" id="{7B0608B4-8F8C-46DB-BC9C-8A2835A6941F}"/>
              </a:ext>
            </a:extLst>
          </p:cNvPr>
          <p:cNvSpPr>
            <a:spLocks noGrp="1"/>
          </p:cNvSpPr>
          <p:nvPr>
            <p:ph type="dgm" sz="quarter" idx="19" hasCustomPrompt="1"/>
          </p:nvPr>
        </p:nvSpPr>
        <p:spPr>
          <a:xfrm>
            <a:off x="6313697" y="2243336"/>
            <a:ext cx="1337843" cy="1337842"/>
          </a:xfrm>
          <a:prstGeom prst="rect">
            <a:avLst/>
          </a:prstGeom>
        </p:spPr>
        <p:txBody>
          <a:bodyPr anchor="ctr"/>
          <a:lstStyle>
            <a:lvl1pPr marL="0" indent="0" algn="ctr">
              <a:buNone/>
              <a:defRPr sz="1800"/>
            </a:lvl1pPr>
          </a:lstStyle>
          <a:p>
            <a:r>
              <a:rPr lang="en-GB" dirty="0" err="1"/>
              <a:t>Icoon</a:t>
            </a:r>
            <a:r>
              <a:rPr lang="en-GB" dirty="0"/>
              <a:t> 3</a:t>
            </a:r>
            <a:endParaRPr lang="en-BE" dirty="0"/>
          </a:p>
        </p:txBody>
      </p:sp>
      <p:sp>
        <p:nvSpPr>
          <p:cNvPr id="28" name="Tijdelijke aanduiding voor SmartArt 8">
            <a:extLst>
              <a:ext uri="{FF2B5EF4-FFF2-40B4-BE49-F238E27FC236}">
                <a16:creationId xmlns:a16="http://schemas.microsoft.com/office/drawing/2014/main" id="{FF6B0AA1-8DA3-4E64-83FE-C8BB46931189}"/>
              </a:ext>
            </a:extLst>
          </p:cNvPr>
          <p:cNvSpPr>
            <a:spLocks noGrp="1"/>
          </p:cNvSpPr>
          <p:nvPr>
            <p:ph type="dgm" sz="quarter" idx="21" hasCustomPrompt="1"/>
          </p:nvPr>
        </p:nvSpPr>
        <p:spPr>
          <a:xfrm>
            <a:off x="9229935" y="2243336"/>
            <a:ext cx="1337843" cy="1337842"/>
          </a:xfrm>
          <a:prstGeom prst="rect">
            <a:avLst/>
          </a:prstGeom>
        </p:spPr>
        <p:txBody>
          <a:bodyPr anchor="ctr"/>
          <a:lstStyle>
            <a:lvl1pPr marL="0" indent="0" algn="ctr">
              <a:buNone/>
              <a:defRPr sz="1800"/>
            </a:lvl1pPr>
          </a:lstStyle>
          <a:p>
            <a:r>
              <a:rPr lang="en-GB" dirty="0" err="1"/>
              <a:t>Icoon</a:t>
            </a:r>
            <a:r>
              <a:rPr lang="en-GB" dirty="0"/>
              <a:t> 4</a:t>
            </a:r>
            <a:endParaRPr lang="en-BE" dirty="0"/>
          </a:p>
        </p:txBody>
      </p:sp>
      <p:sp>
        <p:nvSpPr>
          <p:cNvPr id="2" name="Titel 1">
            <a:extLst>
              <a:ext uri="{FF2B5EF4-FFF2-40B4-BE49-F238E27FC236}">
                <a16:creationId xmlns:a16="http://schemas.microsoft.com/office/drawing/2014/main" id="{575DF763-B9D1-4272-995B-47A53DE558F9}"/>
              </a:ext>
            </a:extLst>
          </p:cNvPr>
          <p:cNvSpPr>
            <a:spLocks noGrp="1"/>
          </p:cNvSpPr>
          <p:nvPr>
            <p:ph type="title"/>
          </p:nvPr>
        </p:nvSpPr>
        <p:spPr/>
        <p:txBody>
          <a:bodyPr/>
          <a:lstStyle/>
          <a:p>
            <a:r>
              <a:rPr lang="en-US"/>
              <a:t>Click to edit Master title style</a:t>
            </a:r>
            <a:endParaRPr lang="en-GB"/>
          </a:p>
        </p:txBody>
      </p:sp>
      <p:sp>
        <p:nvSpPr>
          <p:cNvPr id="3" name="Tijdelijke aanduiding voor voettekst 2">
            <a:extLst>
              <a:ext uri="{FF2B5EF4-FFF2-40B4-BE49-F238E27FC236}">
                <a16:creationId xmlns:a16="http://schemas.microsoft.com/office/drawing/2014/main" id="{D23F9B26-12F3-4A17-9E26-E105CEB657DA}"/>
              </a:ext>
            </a:extLst>
          </p:cNvPr>
          <p:cNvSpPr>
            <a:spLocks noGrp="1"/>
          </p:cNvSpPr>
          <p:nvPr>
            <p:ph type="ftr" sz="quarter" idx="22"/>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7DA149E6-758D-4404-8B20-0C8C2C32DA80}"/>
              </a:ext>
            </a:extLst>
          </p:cNvPr>
          <p:cNvSpPr>
            <a:spLocks noGrp="1"/>
          </p:cNvSpPr>
          <p:nvPr>
            <p:ph type="sldNum" sz="quarter" idx="23"/>
          </p:nvPr>
        </p:nvSpPr>
        <p:spPr/>
        <p:txBody>
          <a:bodyPr/>
          <a:lstStyle/>
          <a:p>
            <a:fld id="{761B7991-791C-44D3-A34B-0516733EAC00}" type="slidenum">
              <a:rPr lang="en-GB" smtClean="0"/>
              <a:t>‹#›</a:t>
            </a:fld>
            <a:endParaRPr lang="en-GB" dirty="0"/>
          </a:p>
        </p:txBody>
      </p:sp>
      <p:sp>
        <p:nvSpPr>
          <p:cNvPr id="22" name="Tijdelijke aanduiding voor tekst 6">
            <a:extLst>
              <a:ext uri="{FF2B5EF4-FFF2-40B4-BE49-F238E27FC236}">
                <a16:creationId xmlns:a16="http://schemas.microsoft.com/office/drawing/2014/main" id="{58820E1A-3786-4CAD-B96A-1BC760EF6E35}"/>
              </a:ext>
            </a:extLst>
          </p:cNvPr>
          <p:cNvSpPr>
            <a:spLocks noGrp="1"/>
          </p:cNvSpPr>
          <p:nvPr>
            <p:ph type="body" sz="quarter" idx="24"/>
          </p:nvPr>
        </p:nvSpPr>
        <p:spPr>
          <a:xfrm>
            <a:off x="481223"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4" name="Tijdelijke aanduiding voor tekst 6">
            <a:extLst>
              <a:ext uri="{FF2B5EF4-FFF2-40B4-BE49-F238E27FC236}">
                <a16:creationId xmlns:a16="http://schemas.microsoft.com/office/drawing/2014/main" id="{7BE5CD57-BE93-483F-B226-F026848287D8}"/>
              </a:ext>
            </a:extLst>
          </p:cNvPr>
          <p:cNvSpPr>
            <a:spLocks noGrp="1"/>
          </p:cNvSpPr>
          <p:nvPr>
            <p:ph type="body" sz="quarter" idx="25"/>
          </p:nvPr>
        </p:nvSpPr>
        <p:spPr>
          <a:xfrm>
            <a:off x="3397461"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29" name="Tijdelijke aanduiding voor tekst 6">
            <a:extLst>
              <a:ext uri="{FF2B5EF4-FFF2-40B4-BE49-F238E27FC236}">
                <a16:creationId xmlns:a16="http://schemas.microsoft.com/office/drawing/2014/main" id="{3E82F6D0-80D6-4BC6-B583-C40D971A2BC8}"/>
              </a:ext>
            </a:extLst>
          </p:cNvPr>
          <p:cNvSpPr>
            <a:spLocks noGrp="1"/>
          </p:cNvSpPr>
          <p:nvPr>
            <p:ph type="body" sz="quarter" idx="26"/>
          </p:nvPr>
        </p:nvSpPr>
        <p:spPr>
          <a:xfrm>
            <a:off x="6313697"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
        <p:nvSpPr>
          <p:cNvPr id="32" name="Tijdelijke aanduiding voor tekst 6">
            <a:extLst>
              <a:ext uri="{FF2B5EF4-FFF2-40B4-BE49-F238E27FC236}">
                <a16:creationId xmlns:a16="http://schemas.microsoft.com/office/drawing/2014/main" id="{458AAC12-4F15-4C93-B6B0-8713A40D12A6}"/>
              </a:ext>
            </a:extLst>
          </p:cNvPr>
          <p:cNvSpPr>
            <a:spLocks noGrp="1"/>
          </p:cNvSpPr>
          <p:nvPr>
            <p:ph type="body" sz="quarter" idx="27"/>
          </p:nvPr>
        </p:nvSpPr>
        <p:spPr>
          <a:xfrm>
            <a:off x="9228036" y="4722800"/>
            <a:ext cx="612000" cy="54000"/>
          </a:xfrm>
          <a:gradFill>
            <a:gsLst>
              <a:gs pos="0">
                <a:schemeClr val="accent1"/>
              </a:gs>
              <a:gs pos="100000">
                <a:schemeClr val="accent2"/>
              </a:gs>
            </a:gsLst>
            <a:lin ang="0" scaled="0"/>
          </a:gradFill>
        </p:spPr>
        <p:txBody>
          <a:bodyPr>
            <a:normAutofit/>
          </a:bodyPr>
          <a:lstStyle>
            <a:lvl1pPr marL="0" indent="0">
              <a:buFont typeface="Arial" panose="020B0604020202020204" pitchFamily="34" charset="0"/>
              <a:buNone/>
              <a:defRPr sz="100">
                <a:noFill/>
              </a:defRPr>
            </a:lvl1pPr>
          </a:lstStyle>
          <a:p>
            <a:pPr lvl="0"/>
            <a:r>
              <a:rPr lang="en-US"/>
              <a:t>Click to edit Master text styles</a:t>
            </a:r>
          </a:p>
        </p:txBody>
      </p:sp>
    </p:spTree>
    <p:extLst>
      <p:ext uri="{BB962C8B-B14F-4D97-AF65-F5344CB8AC3E}">
        <p14:creationId xmlns:p14="http://schemas.microsoft.com/office/powerpoint/2010/main" val="343877589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par>
                                <p:cTn id="10" presetID="10" presetClass="entr" presetSubtype="0" fill="hold" grpId="0" nodeType="withEffect">
                                  <p:stCondLst>
                                    <p:cond delay="0"/>
                                  </p:stCondLst>
                                  <p:iterate type="lt">
                                    <p:tmPct val="5000"/>
                                  </p:iterate>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Effect transition="in" filter="fade">
                                      <p:cBhvr>
                                        <p:cTn id="19" dur="500"/>
                                        <p:tgtEl>
                                          <p:spTgt spid="26"/>
                                        </p:tgtEl>
                                      </p:cBhvr>
                                    </p:animEffect>
                                  </p:childTnLst>
                                </p:cTn>
                              </p:par>
                              <p:par>
                                <p:cTn id="20" presetID="10" presetClass="entr" presetSubtype="0" fill="hold" grpId="0" nodeType="withEffect">
                                  <p:stCondLst>
                                    <p:cond delay="0"/>
                                  </p:stCondLst>
                                  <p:iterate type="lt">
                                    <p:tmPct val="5000"/>
                                  </p:iterate>
                                  <p:childTnLst>
                                    <p:set>
                                      <p:cBhvr>
                                        <p:cTn id="21" dur="1" fill="hold">
                                          <p:stCondLst>
                                            <p:cond delay="0"/>
                                          </p:stCondLst>
                                        </p:cTn>
                                        <p:tgtEl>
                                          <p:spTgt spid="16">
                                            <p:txEl>
                                              <p:pRg st="0" end="0"/>
                                            </p:txEl>
                                          </p:spTgt>
                                        </p:tgtEl>
                                        <p:attrNameLst>
                                          <p:attrName>style.visibility</p:attrName>
                                        </p:attrNameLst>
                                      </p:cBhvr>
                                      <p:to>
                                        <p:strVal val="visible"/>
                                      </p:to>
                                    </p:set>
                                    <p:animEffect transition="in" filter="fade">
                                      <p:cBhvr>
                                        <p:cTn id="22" dur="500"/>
                                        <p:tgtEl>
                                          <p:spTgt spid="16">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 calcmode="lin" valueType="num">
                                      <p:cBhvr>
                                        <p:cTn id="27" dur="500" fill="hold"/>
                                        <p:tgtEl>
                                          <p:spTgt spid="27"/>
                                        </p:tgtEl>
                                        <p:attrNameLst>
                                          <p:attrName>ppt_w</p:attrName>
                                        </p:attrNameLst>
                                      </p:cBhvr>
                                      <p:tavLst>
                                        <p:tav tm="0">
                                          <p:val>
                                            <p:fltVal val="0"/>
                                          </p:val>
                                        </p:tav>
                                        <p:tav tm="100000">
                                          <p:val>
                                            <p:strVal val="#ppt_w"/>
                                          </p:val>
                                        </p:tav>
                                      </p:tavLst>
                                    </p:anim>
                                    <p:anim calcmode="lin" valueType="num">
                                      <p:cBhvr>
                                        <p:cTn id="28" dur="500" fill="hold"/>
                                        <p:tgtEl>
                                          <p:spTgt spid="27"/>
                                        </p:tgtEl>
                                        <p:attrNameLst>
                                          <p:attrName>ppt_h</p:attrName>
                                        </p:attrNameLst>
                                      </p:cBhvr>
                                      <p:tavLst>
                                        <p:tav tm="0">
                                          <p:val>
                                            <p:fltVal val="0"/>
                                          </p:val>
                                        </p:tav>
                                        <p:tav tm="100000">
                                          <p:val>
                                            <p:strVal val="#ppt_h"/>
                                          </p:val>
                                        </p:tav>
                                      </p:tavLst>
                                    </p:anim>
                                    <p:animEffect transition="in" filter="fade">
                                      <p:cBhvr>
                                        <p:cTn id="29" dur="500"/>
                                        <p:tgtEl>
                                          <p:spTgt spid="27"/>
                                        </p:tgtEl>
                                      </p:cBhvr>
                                    </p:animEffect>
                                  </p:childTnLst>
                                </p:cTn>
                              </p:par>
                              <p:par>
                                <p:cTn id="30" presetID="10" presetClass="entr" presetSubtype="0" fill="hold" grpId="0" nodeType="withEffect">
                                  <p:stCondLst>
                                    <p:cond delay="0"/>
                                  </p:stCondLst>
                                  <p:iterate type="lt">
                                    <p:tmPct val="5000"/>
                                  </p:iterate>
                                  <p:childTnLst>
                                    <p:set>
                                      <p:cBhvr>
                                        <p:cTn id="31" dur="1" fill="hold">
                                          <p:stCondLst>
                                            <p:cond delay="0"/>
                                          </p:stCondLst>
                                        </p:cTn>
                                        <p:tgtEl>
                                          <p:spTgt spid="17">
                                            <p:txEl>
                                              <p:pRg st="0" end="0"/>
                                            </p:txEl>
                                          </p:spTgt>
                                        </p:tgtEl>
                                        <p:attrNameLst>
                                          <p:attrName>style.visibility</p:attrName>
                                        </p:attrNameLst>
                                      </p:cBhvr>
                                      <p:to>
                                        <p:strVal val="visible"/>
                                      </p:to>
                                    </p:set>
                                    <p:animEffect transition="in" filter="fade">
                                      <p:cBhvr>
                                        <p:cTn id="32" dur="500"/>
                                        <p:tgtEl>
                                          <p:spTgt spid="17">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53" presetClass="entr" presetSubtype="16"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p:cTn id="37" dur="500" fill="hold"/>
                                        <p:tgtEl>
                                          <p:spTgt spid="28"/>
                                        </p:tgtEl>
                                        <p:attrNameLst>
                                          <p:attrName>ppt_w</p:attrName>
                                        </p:attrNameLst>
                                      </p:cBhvr>
                                      <p:tavLst>
                                        <p:tav tm="0">
                                          <p:val>
                                            <p:fltVal val="0"/>
                                          </p:val>
                                        </p:tav>
                                        <p:tav tm="100000">
                                          <p:val>
                                            <p:strVal val="#ppt_w"/>
                                          </p:val>
                                        </p:tav>
                                      </p:tavLst>
                                    </p:anim>
                                    <p:anim calcmode="lin" valueType="num">
                                      <p:cBhvr>
                                        <p:cTn id="38" dur="500" fill="hold"/>
                                        <p:tgtEl>
                                          <p:spTgt spid="28"/>
                                        </p:tgtEl>
                                        <p:attrNameLst>
                                          <p:attrName>ppt_h</p:attrName>
                                        </p:attrNameLst>
                                      </p:cBhvr>
                                      <p:tavLst>
                                        <p:tav tm="0">
                                          <p:val>
                                            <p:fltVal val="0"/>
                                          </p:val>
                                        </p:tav>
                                        <p:tav tm="100000">
                                          <p:val>
                                            <p:strVal val="#ppt_h"/>
                                          </p:val>
                                        </p:tav>
                                      </p:tavLst>
                                    </p:anim>
                                    <p:animEffect transition="in" filter="fade">
                                      <p:cBhvr>
                                        <p:cTn id="39" dur="500"/>
                                        <p:tgtEl>
                                          <p:spTgt spid="28"/>
                                        </p:tgtEl>
                                      </p:cBhvr>
                                    </p:animEffect>
                                  </p:childTnLst>
                                </p:cTn>
                              </p:par>
                              <p:par>
                                <p:cTn id="40" presetID="10" presetClass="entr" presetSubtype="0" fill="hold" grpId="0" nodeType="withEffect">
                                  <p:stCondLst>
                                    <p:cond delay="0"/>
                                  </p:stCondLst>
                                  <p:iterate type="lt">
                                    <p:tmPct val="5000"/>
                                  </p:iterate>
                                  <p:childTnLst>
                                    <p:set>
                                      <p:cBhvr>
                                        <p:cTn id="41" dur="1" fill="hold">
                                          <p:stCondLst>
                                            <p:cond delay="0"/>
                                          </p:stCondLst>
                                        </p:cTn>
                                        <p:tgtEl>
                                          <p:spTgt spid="14">
                                            <p:txEl>
                                              <p:pRg st="0" end="0"/>
                                            </p:txEl>
                                          </p:spTgt>
                                        </p:tgtEl>
                                        <p:attrNameLst>
                                          <p:attrName>style.visibility</p:attrName>
                                        </p:attrNameLst>
                                      </p:cBhvr>
                                      <p:to>
                                        <p:strVal val="visible"/>
                                      </p:to>
                                    </p:set>
                                    <p:animEffect transition="in" filter="fade">
                                      <p:cBhvr>
                                        <p:cTn id="42"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16"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4" grpId="0" build="p">
        <p:tmplLst>
          <p:tmpl lvl="1">
            <p:tnLst>
              <p:par>
                <p:cTn presetID="10" presetClass="entr" presetSubtype="0" fill="hold" nodeType="withEffect">
                  <p:stCondLst>
                    <p:cond delay="0"/>
                  </p:stCondLst>
                  <p:iterate type="lt">
                    <p:tmPct val="5000"/>
                  </p:iterate>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25" grpId="0"/>
      <p:bldP spid="26" grpId="0"/>
      <p:bldP spid="27" grpId="0"/>
      <p:bldP spid="28" grpId="0"/>
    </p:bldLst>
  </p:timing>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164">
          <p15:clr>
            <a:srgbClr val="FBAE40"/>
          </p15:clr>
        </p15:guide>
        <p15:guide id="4" orient="horz" pos="4156">
          <p15:clr>
            <a:srgbClr val="FBAE40"/>
          </p15:clr>
        </p15:guide>
        <p15:guide id="5" pos="167">
          <p15:clr>
            <a:srgbClr val="FBAE40"/>
          </p15:clr>
        </p15:guide>
        <p15:guide id="6" pos="751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 image 01">
    <p:spTree>
      <p:nvGrpSpPr>
        <p:cNvPr id="1" name=""/>
        <p:cNvGrpSpPr/>
        <p:nvPr/>
      </p:nvGrpSpPr>
      <p:grpSpPr>
        <a:xfrm>
          <a:off x="0" y="0"/>
          <a:ext cx="0" cy="0"/>
          <a:chOff x="0" y="0"/>
          <a:chExt cx="0" cy="0"/>
        </a:xfrm>
      </p:grpSpPr>
      <p:sp>
        <p:nvSpPr>
          <p:cNvPr id="21" name="Tijdelijke aanduiding voor afbeelding 20">
            <a:extLst>
              <a:ext uri="{FF2B5EF4-FFF2-40B4-BE49-F238E27FC236}">
                <a16:creationId xmlns:a16="http://schemas.microsoft.com/office/drawing/2014/main" id="{564B005D-026A-4009-A1C9-F060099E946C}"/>
              </a:ext>
            </a:extLst>
          </p:cNvPr>
          <p:cNvSpPr>
            <a:spLocks noGrp="1"/>
          </p:cNvSpPr>
          <p:nvPr>
            <p:ph type="pic" sz="quarter" idx="34"/>
          </p:nvPr>
        </p:nvSpPr>
        <p:spPr>
          <a:xfrm>
            <a:off x="6880886" y="620268"/>
            <a:ext cx="5311115" cy="6237732"/>
          </a:xfrm>
          <a:custGeom>
            <a:avLst/>
            <a:gdLst>
              <a:gd name="connsiteX0" fmla="*/ 3479059 w 5311115"/>
              <a:gd name="connsiteY0" fmla="*/ 1657322 h 6237732"/>
              <a:gd name="connsiteX1" fmla="*/ 1657222 w 5311115"/>
              <a:gd name="connsiteY1" fmla="*/ 3479060 h 6237732"/>
              <a:gd name="connsiteX2" fmla="*/ 3479059 w 5311115"/>
              <a:gd name="connsiteY2" fmla="*/ 5300698 h 6237732"/>
              <a:gd name="connsiteX3" fmla="*/ 3479059 w 5311115"/>
              <a:gd name="connsiteY3" fmla="*/ 5300797 h 6237732"/>
              <a:gd name="connsiteX4" fmla="*/ 5300997 w 5311115"/>
              <a:gd name="connsiteY4" fmla="*/ 3479160 h 6237732"/>
              <a:gd name="connsiteX5" fmla="*/ 3479059 w 5311115"/>
              <a:gd name="connsiteY5" fmla="*/ 1657322 h 6237732"/>
              <a:gd name="connsiteX6" fmla="*/ 3479059 w 5311115"/>
              <a:gd name="connsiteY6" fmla="*/ 0 h 6237732"/>
              <a:gd name="connsiteX7" fmla="*/ 5137377 w 5311115"/>
              <a:gd name="connsiteY7" fmla="*/ 419837 h 6237732"/>
              <a:gd name="connsiteX8" fmla="*/ 5311115 w 5311115"/>
              <a:gd name="connsiteY8" fmla="*/ 525376 h 6237732"/>
              <a:gd name="connsiteX9" fmla="*/ 5311115 w 5311115"/>
              <a:gd name="connsiteY9" fmla="*/ 6237732 h 6237732"/>
              <a:gd name="connsiteX10" fmla="*/ 1365066 w 5311115"/>
              <a:gd name="connsiteY10" fmla="*/ 6237732 h 6237732"/>
              <a:gd name="connsiteX11" fmla="*/ 1265958 w 5311115"/>
              <a:gd name="connsiteY11" fmla="*/ 6163623 h 6237732"/>
              <a:gd name="connsiteX12" fmla="*/ 0 w 5311115"/>
              <a:gd name="connsiteY12" fmla="*/ 3479060 h 6237732"/>
              <a:gd name="connsiteX13" fmla="*/ 3479059 w 5311115"/>
              <a:gd name="connsiteY13" fmla="*/ 0 h 62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11115" h="6237732">
                <a:moveTo>
                  <a:pt x="3479059" y="1657322"/>
                </a:moveTo>
                <a:cubicBezTo>
                  <a:pt x="2473306" y="1657322"/>
                  <a:pt x="1657222" y="2473006"/>
                  <a:pt x="1657222" y="3479060"/>
                </a:cubicBezTo>
                <a:cubicBezTo>
                  <a:pt x="1657222" y="4485113"/>
                  <a:pt x="2472907" y="5300698"/>
                  <a:pt x="3479059" y="5300698"/>
                </a:cubicBezTo>
                <a:lnTo>
                  <a:pt x="3479059" y="5300797"/>
                </a:lnTo>
                <a:cubicBezTo>
                  <a:pt x="4484813" y="5300797"/>
                  <a:pt x="5300997" y="4485313"/>
                  <a:pt x="5300997" y="3479160"/>
                </a:cubicBezTo>
                <a:cubicBezTo>
                  <a:pt x="5300997" y="2473006"/>
                  <a:pt x="4484813" y="1657322"/>
                  <a:pt x="3479059" y="1657322"/>
                </a:cubicBezTo>
                <a:close/>
                <a:moveTo>
                  <a:pt x="3479059" y="0"/>
                </a:moveTo>
                <a:cubicBezTo>
                  <a:pt x="4079517" y="0"/>
                  <a:pt x="4644430" y="152080"/>
                  <a:pt x="5137377" y="419837"/>
                </a:cubicBezTo>
                <a:lnTo>
                  <a:pt x="5311115" y="525376"/>
                </a:lnTo>
                <a:lnTo>
                  <a:pt x="5311115" y="6237732"/>
                </a:lnTo>
                <a:lnTo>
                  <a:pt x="1365066" y="6237732"/>
                </a:lnTo>
                <a:lnTo>
                  <a:pt x="1265958" y="6163623"/>
                </a:lnTo>
                <a:cubicBezTo>
                  <a:pt x="492770" y="5525546"/>
                  <a:pt x="0" y="4559884"/>
                  <a:pt x="0" y="3479060"/>
                </a:cubicBezTo>
                <a:cubicBezTo>
                  <a:pt x="0" y="1557596"/>
                  <a:pt x="1557495" y="0"/>
                  <a:pt x="3479059" y="0"/>
                </a:cubicBezTo>
                <a:close/>
              </a:path>
            </a:pathLst>
          </a:custGeom>
          <a:solidFill>
            <a:schemeClr val="bg1">
              <a:lumMod val="95000"/>
            </a:schemeClr>
          </a:solidFill>
        </p:spPr>
        <p:txBody>
          <a:bodyPr wrap="square" anchor="t">
            <a:noAutofit/>
          </a:bodyPr>
          <a:lstStyle>
            <a:lvl1pPr marL="0" indent="0" algn="ctr">
              <a:buNone/>
              <a:defRPr sz="1800"/>
            </a:lvl1pPr>
          </a:lstStyle>
          <a:p>
            <a:r>
              <a:rPr lang="en-US"/>
              <a:t>Click icon to add picture</a:t>
            </a:r>
            <a:endParaRPr lang="en-GB"/>
          </a:p>
        </p:txBody>
      </p:sp>
      <p:sp>
        <p:nvSpPr>
          <p:cNvPr id="2" name="Titel 1">
            <a:extLst>
              <a:ext uri="{FF2B5EF4-FFF2-40B4-BE49-F238E27FC236}">
                <a16:creationId xmlns:a16="http://schemas.microsoft.com/office/drawing/2014/main" id="{BB95E17B-E737-4096-99C9-0451D1BF8FD9}"/>
              </a:ext>
            </a:extLst>
          </p:cNvPr>
          <p:cNvSpPr>
            <a:spLocks noGrp="1"/>
          </p:cNvSpPr>
          <p:nvPr>
            <p:ph type="title"/>
          </p:nvPr>
        </p:nvSpPr>
        <p:spPr/>
        <p:txBody>
          <a:bodyPr/>
          <a:lstStyle/>
          <a:p>
            <a:r>
              <a:rPr lang="en-US"/>
              <a:t>Click to edit Master title style</a:t>
            </a:r>
            <a:endParaRPr lang="en-GB" dirty="0"/>
          </a:p>
        </p:txBody>
      </p:sp>
      <p:sp>
        <p:nvSpPr>
          <p:cNvPr id="10" name="Rechthoek 9">
            <a:extLst>
              <a:ext uri="{FF2B5EF4-FFF2-40B4-BE49-F238E27FC236}">
                <a16:creationId xmlns:a16="http://schemas.microsoft.com/office/drawing/2014/main" id="{340D5EB6-FBA0-4EA7-ACF6-D6C74608F9A7}"/>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1" name="Rechte verbindingslijn 10">
            <a:extLst>
              <a:ext uri="{FF2B5EF4-FFF2-40B4-BE49-F238E27FC236}">
                <a16:creationId xmlns:a16="http://schemas.microsoft.com/office/drawing/2014/main" id="{8DB8D380-677B-4067-B9EA-06265661870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2" name="Tekstvak 11">
            <a:extLst>
              <a:ext uri="{FF2B5EF4-FFF2-40B4-BE49-F238E27FC236}">
                <a16:creationId xmlns:a16="http://schemas.microsoft.com/office/drawing/2014/main" id="{468C8959-23F6-4F96-A2A1-8F78D91D4C8D}"/>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3" name="Groep 12">
            <a:extLst>
              <a:ext uri="{FF2B5EF4-FFF2-40B4-BE49-F238E27FC236}">
                <a16:creationId xmlns:a16="http://schemas.microsoft.com/office/drawing/2014/main" id="{EB065485-B5A1-436A-AB30-54425CB945D5}"/>
              </a:ext>
            </a:extLst>
          </p:cNvPr>
          <p:cNvGrpSpPr/>
          <p:nvPr/>
        </p:nvGrpSpPr>
        <p:grpSpPr>
          <a:xfrm>
            <a:off x="-1425490" y="4409929"/>
            <a:ext cx="250379" cy="249771"/>
            <a:chOff x="-706740" y="145633"/>
            <a:chExt cx="250379" cy="249771"/>
          </a:xfrm>
        </p:grpSpPr>
        <p:sp>
          <p:nvSpPr>
            <p:cNvPr id="14" name="Rechthoek 13">
              <a:extLst>
                <a:ext uri="{FF2B5EF4-FFF2-40B4-BE49-F238E27FC236}">
                  <a16:creationId xmlns:a16="http://schemas.microsoft.com/office/drawing/2014/main" id="{00BA605C-C823-4D84-9841-C64CD09A43F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Gelijkbenige driehoek 128">
              <a:extLst>
                <a:ext uri="{FF2B5EF4-FFF2-40B4-BE49-F238E27FC236}">
                  <a16:creationId xmlns:a16="http://schemas.microsoft.com/office/drawing/2014/main" id="{E12DA186-BD6A-44A5-ADC2-75EA3069D2E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Ovaal 22">
              <a:extLst>
                <a:ext uri="{FF2B5EF4-FFF2-40B4-BE49-F238E27FC236}">
                  <a16:creationId xmlns:a16="http://schemas.microsoft.com/office/drawing/2014/main" id="{613B1191-9A6D-49EF-B404-E07DB981F804}"/>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24" name="Rechthoek 23">
              <a:extLst>
                <a:ext uri="{FF2B5EF4-FFF2-40B4-BE49-F238E27FC236}">
                  <a16:creationId xmlns:a16="http://schemas.microsoft.com/office/drawing/2014/main" id="{9280CCBD-226E-4C5C-8F78-EF8564DE5BC0}"/>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25" name="Rechte verbindingslijn 24">
              <a:extLst>
                <a:ext uri="{FF2B5EF4-FFF2-40B4-BE49-F238E27FC236}">
                  <a16:creationId xmlns:a16="http://schemas.microsoft.com/office/drawing/2014/main" id="{56523900-8DEC-4BBF-B9EB-8F75D5CB6EAB}"/>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6" name="Tekstvak 25">
            <a:extLst>
              <a:ext uri="{FF2B5EF4-FFF2-40B4-BE49-F238E27FC236}">
                <a16:creationId xmlns:a16="http://schemas.microsoft.com/office/drawing/2014/main" id="{EDC5C693-428B-41C3-8FB6-AEBB257420DD}"/>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7" name="Tekstvak 26">
            <a:extLst>
              <a:ext uri="{FF2B5EF4-FFF2-40B4-BE49-F238E27FC236}">
                <a16:creationId xmlns:a16="http://schemas.microsoft.com/office/drawing/2014/main" id="{CA8390E2-F185-4784-A39C-01C03DC40878}"/>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8" name="Groep 27">
            <a:extLst>
              <a:ext uri="{FF2B5EF4-FFF2-40B4-BE49-F238E27FC236}">
                <a16:creationId xmlns:a16="http://schemas.microsoft.com/office/drawing/2014/main" id="{037D01ED-004D-40CF-BADB-28147A11D67D}"/>
              </a:ext>
            </a:extLst>
          </p:cNvPr>
          <p:cNvGrpSpPr/>
          <p:nvPr/>
        </p:nvGrpSpPr>
        <p:grpSpPr>
          <a:xfrm>
            <a:off x="-1073403" y="4409928"/>
            <a:ext cx="252000" cy="216024"/>
            <a:chOff x="-932185" y="5325334"/>
            <a:chExt cx="252000" cy="216024"/>
          </a:xfrm>
        </p:grpSpPr>
        <p:sp>
          <p:nvSpPr>
            <p:cNvPr id="29" name="Rechthoek 28">
              <a:extLst>
                <a:ext uri="{FF2B5EF4-FFF2-40B4-BE49-F238E27FC236}">
                  <a16:creationId xmlns:a16="http://schemas.microsoft.com/office/drawing/2014/main" id="{6BE87C36-7656-4DD7-87D4-EFAF504677F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30" name="Groep 29">
              <a:extLst>
                <a:ext uri="{FF2B5EF4-FFF2-40B4-BE49-F238E27FC236}">
                  <a16:creationId xmlns:a16="http://schemas.microsoft.com/office/drawing/2014/main" id="{F087791E-66F8-42C1-87ED-30D079539B01}"/>
                </a:ext>
              </a:extLst>
            </p:cNvPr>
            <p:cNvGrpSpPr/>
            <p:nvPr userDrawn="1"/>
          </p:nvGrpSpPr>
          <p:grpSpPr>
            <a:xfrm>
              <a:off x="-925512" y="5325900"/>
              <a:ext cx="241658" cy="36000"/>
              <a:chOff x="-964435" y="5325900"/>
              <a:chExt cx="241658" cy="36000"/>
            </a:xfrm>
          </p:grpSpPr>
          <p:sp>
            <p:nvSpPr>
              <p:cNvPr id="39" name="Rechthoek 38">
                <a:extLst>
                  <a:ext uri="{FF2B5EF4-FFF2-40B4-BE49-F238E27FC236}">
                    <a16:creationId xmlns:a16="http://schemas.microsoft.com/office/drawing/2014/main" id="{8B5E8616-C8AB-4EC8-85FF-BE85055BEFB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F02B6429-D8EE-4EB5-BF26-CD0FB5A9A9E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25F2EE1C-C904-43AF-A415-25D9800C3E6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F8259500-AA88-4666-9B83-1274922BD7AD}"/>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37C64C96-971F-49B0-8FDE-E9D4729200A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Rechthoek 43">
                <a:extLst>
                  <a:ext uri="{FF2B5EF4-FFF2-40B4-BE49-F238E27FC236}">
                    <a16:creationId xmlns:a16="http://schemas.microsoft.com/office/drawing/2014/main" id="{8CAF722A-5C45-470E-9379-BEC2BFA1306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Rechthoek 44">
                <a:extLst>
                  <a:ext uri="{FF2B5EF4-FFF2-40B4-BE49-F238E27FC236}">
                    <a16:creationId xmlns:a16="http://schemas.microsoft.com/office/drawing/2014/main" id="{744D17F6-3CEC-49D5-8B2A-1B00913BEB7D}"/>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31" name="Groep 30">
              <a:extLst>
                <a:ext uri="{FF2B5EF4-FFF2-40B4-BE49-F238E27FC236}">
                  <a16:creationId xmlns:a16="http://schemas.microsoft.com/office/drawing/2014/main" id="{EFE574FC-96FC-428C-9483-1F371D9A0A9A}"/>
                </a:ext>
              </a:extLst>
            </p:cNvPr>
            <p:cNvGrpSpPr/>
            <p:nvPr userDrawn="1"/>
          </p:nvGrpSpPr>
          <p:grpSpPr>
            <a:xfrm>
              <a:off x="-925512" y="5502593"/>
              <a:ext cx="241658" cy="36000"/>
              <a:chOff x="-964435" y="5325900"/>
              <a:chExt cx="241658" cy="36000"/>
            </a:xfrm>
          </p:grpSpPr>
          <p:sp>
            <p:nvSpPr>
              <p:cNvPr id="32" name="Rechthoek 31">
                <a:extLst>
                  <a:ext uri="{FF2B5EF4-FFF2-40B4-BE49-F238E27FC236}">
                    <a16:creationId xmlns:a16="http://schemas.microsoft.com/office/drawing/2014/main" id="{D245EF99-9947-488F-9EED-09E3F52FCBA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0E5E601F-31FC-4034-A283-58BAFF99605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0545EC63-EC85-4C99-8D56-0EE44089A0B1}"/>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F03A67E0-C029-49B8-9913-D003231CD6CA}"/>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6" name="Rechthoek 35">
                <a:extLst>
                  <a:ext uri="{FF2B5EF4-FFF2-40B4-BE49-F238E27FC236}">
                    <a16:creationId xmlns:a16="http://schemas.microsoft.com/office/drawing/2014/main" id="{313FB65C-37DC-49CF-B5E4-01F4D55A9E06}"/>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7" name="Rechthoek 36">
                <a:extLst>
                  <a:ext uri="{FF2B5EF4-FFF2-40B4-BE49-F238E27FC236}">
                    <a16:creationId xmlns:a16="http://schemas.microsoft.com/office/drawing/2014/main" id="{48B9E082-D3FC-4741-83E7-43560004D293}"/>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CD3CBAC3-04E2-4B52-A3BD-FD5B876ACB54}"/>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6" name="Tekstvak 45">
            <a:extLst>
              <a:ext uri="{FF2B5EF4-FFF2-40B4-BE49-F238E27FC236}">
                <a16:creationId xmlns:a16="http://schemas.microsoft.com/office/drawing/2014/main" id="{C693B104-527C-4E84-83C7-DB4DDE482DDC}"/>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FC90C2C1-DDED-4C58-967D-A8278F1C04A7}"/>
              </a:ext>
            </a:extLst>
          </p:cNvPr>
          <p:cNvSpPr>
            <a:spLocks noGrp="1"/>
          </p:cNvSpPr>
          <p:nvPr>
            <p:ph type="ftr" sz="quarter" idx="35"/>
          </p:nvPr>
        </p:nvSpPr>
        <p:spPr/>
        <p:txBody>
          <a:bodyPr/>
          <a:lstStyle/>
          <a:p>
            <a:r>
              <a:rPr lang="en-GB" dirty="0"/>
              <a:t>Template made by </a:t>
            </a:r>
            <a:r>
              <a:rPr lang="en-GB" dirty="0" err="1"/>
              <a:t>Smartpresentations</a:t>
            </a:r>
            <a:endParaRPr lang="en-GB" dirty="0"/>
          </a:p>
        </p:txBody>
      </p:sp>
      <p:sp>
        <p:nvSpPr>
          <p:cNvPr id="4" name="Tijdelijke aanduiding voor dianummer 3">
            <a:extLst>
              <a:ext uri="{FF2B5EF4-FFF2-40B4-BE49-F238E27FC236}">
                <a16:creationId xmlns:a16="http://schemas.microsoft.com/office/drawing/2014/main" id="{A56AC55C-1262-4599-9A1B-E49598629140}"/>
              </a:ext>
            </a:extLst>
          </p:cNvPr>
          <p:cNvSpPr>
            <a:spLocks noGrp="1"/>
          </p:cNvSpPr>
          <p:nvPr>
            <p:ph type="sldNum" sz="quarter" idx="36"/>
          </p:nvPr>
        </p:nvSpPr>
        <p:spPr/>
        <p:txBody>
          <a:bodyPr/>
          <a:lstStyle/>
          <a:p>
            <a:fld id="{761B7991-791C-44D3-A34B-0516733EAC00}" type="slidenum">
              <a:rPr lang="en-GB" smtClean="0"/>
              <a:t>‹#›</a:t>
            </a:fld>
            <a:endParaRPr lang="en-GB" dirty="0"/>
          </a:p>
        </p:txBody>
      </p:sp>
      <p:sp>
        <p:nvSpPr>
          <p:cNvPr id="47" name="Tijdelijke aanduiding voor inhoud 2">
            <a:extLst>
              <a:ext uri="{FF2B5EF4-FFF2-40B4-BE49-F238E27FC236}">
                <a16:creationId xmlns:a16="http://schemas.microsoft.com/office/drawing/2014/main" id="{A289276E-6A72-4766-8D3D-3BC956E89482}"/>
              </a:ext>
            </a:extLst>
          </p:cNvPr>
          <p:cNvSpPr>
            <a:spLocks noGrp="1"/>
          </p:cNvSpPr>
          <p:nvPr>
            <p:ph idx="1"/>
          </p:nvPr>
        </p:nvSpPr>
        <p:spPr>
          <a:xfrm>
            <a:off x="838200" y="1457011"/>
            <a:ext cx="5558929"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79237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B_Title">
    <p:bg>
      <p:bgPr>
        <a:solidFill>
          <a:schemeClr val="tx1"/>
        </a:solidFill>
        <a:effectLst/>
      </p:bgPr>
    </p:bg>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EBA0C01F-B0FB-46DC-B5A8-B8DDF50AAA26}"/>
              </a:ext>
            </a:extLst>
          </p:cNvPr>
          <p:cNvSpPr/>
          <p:nvPr/>
        </p:nvSpPr>
        <p:spPr>
          <a:xfrm rot="7786244">
            <a:off x="11043962" y="-333831"/>
            <a:ext cx="1976529" cy="85471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a:off x="660207" y="2038350"/>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anchor="b">
            <a:normAutofit/>
          </a:bodyPr>
          <a:lstStyle>
            <a:lvl1pPr algn="l">
              <a:defRPr sz="6600" b="1">
                <a:solidFill>
                  <a:schemeClr val="bg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493682" y="5447542"/>
            <a:ext cx="2038111" cy="972413"/>
          </a:xfrm>
          <a:prstGeom prst="rect">
            <a:avLst/>
          </a:prstGeom>
        </p:spPr>
      </p:pic>
    </p:spTree>
    <p:extLst>
      <p:ext uri="{BB962C8B-B14F-4D97-AF65-F5344CB8AC3E}">
        <p14:creationId xmlns:p14="http://schemas.microsoft.com/office/powerpoint/2010/main" val="21816776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 Image 02">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0F41E96E-9C38-4D23-B21C-C859623D0EF7}"/>
              </a:ext>
            </a:extLst>
          </p:cNvPr>
          <p:cNvSpPr>
            <a:spLocks noGrp="1"/>
          </p:cNvSpPr>
          <p:nvPr>
            <p:ph type="pic" sz="quarter" idx="10"/>
          </p:nvPr>
        </p:nvSpPr>
        <p:spPr>
          <a:xfrm>
            <a:off x="5454502" y="0"/>
            <a:ext cx="6737498" cy="6858000"/>
          </a:xfrm>
          <a:custGeom>
            <a:avLst/>
            <a:gdLst>
              <a:gd name="connsiteX0" fmla="*/ 3974805 w 6737498"/>
              <a:gd name="connsiteY0" fmla="*/ 0 h 6858000"/>
              <a:gd name="connsiteX1" fmla="*/ 6503150 w 6737498"/>
              <a:gd name="connsiteY1" fmla="*/ 907326 h 6858000"/>
              <a:gd name="connsiteX2" fmla="*/ 6737498 w 6737498"/>
              <a:gd name="connsiteY2" fmla="*/ 1120239 h 6858000"/>
              <a:gd name="connsiteX3" fmla="*/ 6737498 w 6737498"/>
              <a:gd name="connsiteY3" fmla="*/ 6826511 h 6858000"/>
              <a:gd name="connsiteX4" fmla="*/ 6702839 w 6737498"/>
              <a:gd name="connsiteY4" fmla="*/ 6858000 h 6858000"/>
              <a:gd name="connsiteX5" fmla="*/ 1246772 w 6737498"/>
              <a:gd name="connsiteY5" fmla="*/ 6858000 h 6858000"/>
              <a:gd name="connsiteX6" fmla="*/ 1164194 w 6737498"/>
              <a:gd name="connsiteY6" fmla="*/ 6782976 h 6858000"/>
              <a:gd name="connsiteX7" fmla="*/ 0 w 6737498"/>
              <a:gd name="connsiteY7" fmla="*/ 3973375 h 6858000"/>
              <a:gd name="connsiteX8" fmla="*/ 3974805 w 6737498"/>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7498" h="6858000">
                <a:moveTo>
                  <a:pt x="3974805" y="0"/>
                </a:moveTo>
                <a:cubicBezTo>
                  <a:pt x="4935216" y="0"/>
                  <a:pt x="5816069" y="340501"/>
                  <a:pt x="6503150" y="907326"/>
                </a:cubicBezTo>
                <a:lnTo>
                  <a:pt x="6737498" y="1120239"/>
                </a:lnTo>
                <a:lnTo>
                  <a:pt x="6737498" y="6826511"/>
                </a:lnTo>
                <a:lnTo>
                  <a:pt x="6702839" y="6858000"/>
                </a:lnTo>
                <a:lnTo>
                  <a:pt x="1246772" y="6858000"/>
                </a:lnTo>
                <a:lnTo>
                  <a:pt x="1164194" y="6782976"/>
                </a:lnTo>
                <a:cubicBezTo>
                  <a:pt x="444896" y="6063936"/>
                  <a:pt x="0" y="5070592"/>
                  <a:pt x="0" y="3973375"/>
                </a:cubicBezTo>
                <a:cubicBezTo>
                  <a:pt x="0" y="1778941"/>
                  <a:pt x="1779581" y="0"/>
                  <a:pt x="3974805" y="0"/>
                </a:cubicBezTo>
                <a:close/>
              </a:path>
            </a:pathLst>
          </a:custGeom>
          <a:solidFill>
            <a:schemeClr val="bg1">
              <a:lumMod val="95000"/>
            </a:schemeClr>
          </a:solidFill>
        </p:spPr>
        <p:txBody>
          <a:bodyPr wrap="square" anchor="ctr">
            <a:noAutofit/>
          </a:bodyPr>
          <a:lstStyle>
            <a:lvl1pPr marL="0" indent="0" algn="ctr">
              <a:buNone/>
              <a:defRPr sz="1600"/>
            </a:lvl1pPr>
          </a:lstStyle>
          <a:p>
            <a:r>
              <a:rPr lang="en-US"/>
              <a:t>Click icon to add picture</a:t>
            </a:r>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dirty="0"/>
          </a:p>
        </p:txBody>
      </p:sp>
      <p:sp>
        <p:nvSpPr>
          <p:cNvPr id="12" name="Tijdelijke aanduiding voor inhoud 2">
            <a:extLst>
              <a:ext uri="{FF2B5EF4-FFF2-40B4-BE49-F238E27FC236}">
                <a16:creationId xmlns:a16="http://schemas.microsoft.com/office/drawing/2014/main" id="{E71A256E-2C27-4C14-9B49-1AA51FCFAF2E}"/>
              </a:ext>
            </a:extLst>
          </p:cNvPr>
          <p:cNvSpPr>
            <a:spLocks noGrp="1"/>
          </p:cNvSpPr>
          <p:nvPr>
            <p:ph idx="1"/>
          </p:nvPr>
        </p:nvSpPr>
        <p:spPr>
          <a:xfrm>
            <a:off x="838201" y="1457011"/>
            <a:ext cx="4477377" cy="471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Rechthoek 4">
            <a:extLst>
              <a:ext uri="{FF2B5EF4-FFF2-40B4-BE49-F238E27FC236}">
                <a16:creationId xmlns:a16="http://schemas.microsoft.com/office/drawing/2014/main" id="{E5C2C65A-2658-4560-A6BE-86CB6EDD6AFB}"/>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6" name="Rechte verbindingslijn 5">
            <a:extLst>
              <a:ext uri="{FF2B5EF4-FFF2-40B4-BE49-F238E27FC236}">
                <a16:creationId xmlns:a16="http://schemas.microsoft.com/office/drawing/2014/main" id="{F62A4FBC-8872-485A-A7BD-85401237E3D4}"/>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7" name="Tekstvak 6">
            <a:extLst>
              <a:ext uri="{FF2B5EF4-FFF2-40B4-BE49-F238E27FC236}">
                <a16:creationId xmlns:a16="http://schemas.microsoft.com/office/drawing/2014/main" id="{7AA57C24-9FB9-467D-AF59-4E9D256E6FA2}"/>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8" name="Groep 7">
            <a:extLst>
              <a:ext uri="{FF2B5EF4-FFF2-40B4-BE49-F238E27FC236}">
                <a16:creationId xmlns:a16="http://schemas.microsoft.com/office/drawing/2014/main" id="{71F4A9A2-703C-4C76-9C73-18B866404F1E}"/>
              </a:ext>
            </a:extLst>
          </p:cNvPr>
          <p:cNvGrpSpPr/>
          <p:nvPr/>
        </p:nvGrpSpPr>
        <p:grpSpPr>
          <a:xfrm>
            <a:off x="-1425490" y="4409929"/>
            <a:ext cx="250379" cy="249771"/>
            <a:chOff x="-706740" y="145633"/>
            <a:chExt cx="250379" cy="249771"/>
          </a:xfrm>
        </p:grpSpPr>
        <p:sp>
          <p:nvSpPr>
            <p:cNvPr id="9" name="Rechthoek 8">
              <a:extLst>
                <a:ext uri="{FF2B5EF4-FFF2-40B4-BE49-F238E27FC236}">
                  <a16:creationId xmlns:a16="http://schemas.microsoft.com/office/drawing/2014/main" id="{46EFB43F-30C6-44C2-9898-82EB22841CAE}"/>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Gelijkbenige driehoek 128">
              <a:extLst>
                <a:ext uri="{FF2B5EF4-FFF2-40B4-BE49-F238E27FC236}">
                  <a16:creationId xmlns:a16="http://schemas.microsoft.com/office/drawing/2014/main" id="{415C6E54-6AF1-4BF2-9BA8-26E0725050F7}"/>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Ovaal 12">
              <a:extLst>
                <a:ext uri="{FF2B5EF4-FFF2-40B4-BE49-F238E27FC236}">
                  <a16:creationId xmlns:a16="http://schemas.microsoft.com/office/drawing/2014/main" id="{BCE79456-4827-427E-9158-03DAD897BEDE}"/>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4" name="Rechthoek 13">
              <a:extLst>
                <a:ext uri="{FF2B5EF4-FFF2-40B4-BE49-F238E27FC236}">
                  <a16:creationId xmlns:a16="http://schemas.microsoft.com/office/drawing/2014/main" id="{4E7C3B5D-2B57-4C75-B2E9-2B87C4AABC36}"/>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5" name="Rechte verbindingslijn 14">
              <a:extLst>
                <a:ext uri="{FF2B5EF4-FFF2-40B4-BE49-F238E27FC236}">
                  <a16:creationId xmlns:a16="http://schemas.microsoft.com/office/drawing/2014/main" id="{AB937567-3D0A-4DF2-A7D2-29E70B21EB16}"/>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6" name="Tekstvak 15">
            <a:extLst>
              <a:ext uri="{FF2B5EF4-FFF2-40B4-BE49-F238E27FC236}">
                <a16:creationId xmlns:a16="http://schemas.microsoft.com/office/drawing/2014/main" id="{0E4A9D28-47D5-4922-ABA9-D10A49262365}"/>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7" name="Tekstvak 16">
            <a:extLst>
              <a:ext uri="{FF2B5EF4-FFF2-40B4-BE49-F238E27FC236}">
                <a16:creationId xmlns:a16="http://schemas.microsoft.com/office/drawing/2014/main" id="{1165B6BD-DD72-48BF-BE51-39C303B2B996}"/>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8" name="Groep 17">
            <a:extLst>
              <a:ext uri="{FF2B5EF4-FFF2-40B4-BE49-F238E27FC236}">
                <a16:creationId xmlns:a16="http://schemas.microsoft.com/office/drawing/2014/main" id="{B00BC30B-C7D5-4C82-AD3A-F1B2CFE7B59D}"/>
              </a:ext>
            </a:extLst>
          </p:cNvPr>
          <p:cNvGrpSpPr/>
          <p:nvPr/>
        </p:nvGrpSpPr>
        <p:grpSpPr>
          <a:xfrm>
            <a:off x="-1073403" y="4409928"/>
            <a:ext cx="252000" cy="216024"/>
            <a:chOff x="-932185" y="5325334"/>
            <a:chExt cx="252000" cy="216024"/>
          </a:xfrm>
        </p:grpSpPr>
        <p:sp>
          <p:nvSpPr>
            <p:cNvPr id="19" name="Rechthoek 18">
              <a:extLst>
                <a:ext uri="{FF2B5EF4-FFF2-40B4-BE49-F238E27FC236}">
                  <a16:creationId xmlns:a16="http://schemas.microsoft.com/office/drawing/2014/main" id="{6C27C000-5449-4AD2-8563-3CD67B4FC766}"/>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0" name="Groep 19">
              <a:extLst>
                <a:ext uri="{FF2B5EF4-FFF2-40B4-BE49-F238E27FC236}">
                  <a16:creationId xmlns:a16="http://schemas.microsoft.com/office/drawing/2014/main" id="{5EAD29E0-D525-4D9F-8587-1517F9A8990D}"/>
                </a:ext>
              </a:extLst>
            </p:cNvPr>
            <p:cNvGrpSpPr/>
            <p:nvPr userDrawn="1"/>
          </p:nvGrpSpPr>
          <p:grpSpPr>
            <a:xfrm>
              <a:off x="-925512" y="5325900"/>
              <a:ext cx="241658" cy="36000"/>
              <a:chOff x="-964435" y="5325900"/>
              <a:chExt cx="241658" cy="36000"/>
            </a:xfrm>
          </p:grpSpPr>
          <p:sp>
            <p:nvSpPr>
              <p:cNvPr id="29" name="Rechthoek 28">
                <a:extLst>
                  <a:ext uri="{FF2B5EF4-FFF2-40B4-BE49-F238E27FC236}">
                    <a16:creationId xmlns:a16="http://schemas.microsoft.com/office/drawing/2014/main" id="{84511C47-EDB9-4724-96C6-A32B1B8CD9F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FE8A6093-9236-4BBF-8701-52BD2D2FC632}"/>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ABC9A642-744E-4237-B834-8AB17A6919BE}"/>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B73B35C3-CE5E-40D7-9F78-9DAF625341E4}"/>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1C089379-583F-43EA-A359-DDD8F55C9DFE}"/>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4" name="Rechthoek 33">
                <a:extLst>
                  <a:ext uri="{FF2B5EF4-FFF2-40B4-BE49-F238E27FC236}">
                    <a16:creationId xmlns:a16="http://schemas.microsoft.com/office/drawing/2014/main" id="{5DCE39B3-1A99-4F03-ABFA-22EBB8A0967E}"/>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5" name="Rechthoek 34">
                <a:extLst>
                  <a:ext uri="{FF2B5EF4-FFF2-40B4-BE49-F238E27FC236}">
                    <a16:creationId xmlns:a16="http://schemas.microsoft.com/office/drawing/2014/main" id="{BAC4910C-84C1-4BB3-8831-DBFA6FD60868}"/>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1" name="Groep 20">
              <a:extLst>
                <a:ext uri="{FF2B5EF4-FFF2-40B4-BE49-F238E27FC236}">
                  <a16:creationId xmlns:a16="http://schemas.microsoft.com/office/drawing/2014/main" id="{1BE4CDBD-2504-44B8-9FCA-349AB1C69BED}"/>
                </a:ext>
              </a:extLst>
            </p:cNvPr>
            <p:cNvGrpSpPr/>
            <p:nvPr userDrawn="1"/>
          </p:nvGrpSpPr>
          <p:grpSpPr>
            <a:xfrm>
              <a:off x="-925512" y="5502593"/>
              <a:ext cx="241658" cy="36000"/>
              <a:chOff x="-964435" y="5325900"/>
              <a:chExt cx="241658" cy="36000"/>
            </a:xfrm>
          </p:grpSpPr>
          <p:sp>
            <p:nvSpPr>
              <p:cNvPr id="22" name="Rechthoek 21">
                <a:extLst>
                  <a:ext uri="{FF2B5EF4-FFF2-40B4-BE49-F238E27FC236}">
                    <a16:creationId xmlns:a16="http://schemas.microsoft.com/office/drawing/2014/main" id="{5C081608-A395-4D09-BD8A-A5D1FE08FAA6}"/>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Rechthoek 22">
                <a:extLst>
                  <a:ext uri="{FF2B5EF4-FFF2-40B4-BE49-F238E27FC236}">
                    <a16:creationId xmlns:a16="http://schemas.microsoft.com/office/drawing/2014/main" id="{616F45F6-8117-43FA-ABA5-A5F8D7D246AF}"/>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Rechthoek 23">
                <a:extLst>
                  <a:ext uri="{FF2B5EF4-FFF2-40B4-BE49-F238E27FC236}">
                    <a16:creationId xmlns:a16="http://schemas.microsoft.com/office/drawing/2014/main" id="{688D5F99-9556-4C11-91BD-7828AAC4020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5" name="Rechthoek 24">
                <a:extLst>
                  <a:ext uri="{FF2B5EF4-FFF2-40B4-BE49-F238E27FC236}">
                    <a16:creationId xmlns:a16="http://schemas.microsoft.com/office/drawing/2014/main" id="{A83084F6-9F19-4077-B505-8884B99ECE33}"/>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Rechthoek 25">
                <a:extLst>
                  <a:ext uri="{FF2B5EF4-FFF2-40B4-BE49-F238E27FC236}">
                    <a16:creationId xmlns:a16="http://schemas.microsoft.com/office/drawing/2014/main" id="{A88431EE-3377-45FC-9D1C-476FE6BB3B8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3490FF61-C896-4BCE-B5CF-96697B3FFCC8}"/>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039872A1-708A-4730-8DF5-AA21CE06830C}"/>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36" name="Tekstvak 35">
            <a:extLst>
              <a:ext uri="{FF2B5EF4-FFF2-40B4-BE49-F238E27FC236}">
                <a16:creationId xmlns:a16="http://schemas.microsoft.com/office/drawing/2014/main" id="{C13A8F42-6A68-43AB-AD02-AE8A032803D0}"/>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9F0F24F8-12A0-4728-9BFE-0E3FE521260F}"/>
              </a:ext>
            </a:extLst>
          </p:cNvPr>
          <p:cNvSpPr>
            <a:spLocks noGrp="1"/>
          </p:cNvSpPr>
          <p:nvPr>
            <p:ph type="ftr" sz="quarter" idx="1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93BCCB-95E3-4A85-B3C6-4FB0A6BDA7D9}"/>
              </a:ext>
            </a:extLst>
          </p:cNvPr>
          <p:cNvSpPr>
            <a:spLocks noGrp="1"/>
          </p:cNvSpPr>
          <p:nvPr>
            <p:ph type="sldNum" sz="quarter" idx="1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1430109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images + text">
    <p:spTree>
      <p:nvGrpSpPr>
        <p:cNvPr id="1" name=""/>
        <p:cNvGrpSpPr/>
        <p:nvPr/>
      </p:nvGrpSpPr>
      <p:grpSpPr>
        <a:xfrm>
          <a:off x="0" y="0"/>
          <a:ext cx="0" cy="0"/>
          <a:chOff x="0" y="0"/>
          <a:chExt cx="0" cy="0"/>
        </a:xfrm>
      </p:grpSpPr>
      <p:sp>
        <p:nvSpPr>
          <p:cNvPr id="58" name="Tijdelijke aanduiding voor afbeelding 57">
            <a:extLst>
              <a:ext uri="{FF2B5EF4-FFF2-40B4-BE49-F238E27FC236}">
                <a16:creationId xmlns:a16="http://schemas.microsoft.com/office/drawing/2014/main" id="{D48DE010-1A0C-4166-971F-D5EDDE6E736C}"/>
              </a:ext>
            </a:extLst>
          </p:cNvPr>
          <p:cNvSpPr>
            <a:spLocks noGrp="1"/>
          </p:cNvSpPr>
          <p:nvPr>
            <p:ph type="pic" sz="quarter" idx="10"/>
          </p:nvPr>
        </p:nvSpPr>
        <p:spPr>
          <a:xfrm>
            <a:off x="3679455"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59" name="Tijdelijke aanduiding voor afbeelding 57">
            <a:extLst>
              <a:ext uri="{FF2B5EF4-FFF2-40B4-BE49-F238E27FC236}">
                <a16:creationId xmlns:a16="http://schemas.microsoft.com/office/drawing/2014/main" id="{043CC465-FBD7-4104-8C4B-53064F78FF52}"/>
              </a:ext>
            </a:extLst>
          </p:cNvPr>
          <p:cNvSpPr>
            <a:spLocks noGrp="1"/>
          </p:cNvSpPr>
          <p:nvPr>
            <p:ph type="pic" sz="quarter" idx="11"/>
          </p:nvPr>
        </p:nvSpPr>
        <p:spPr>
          <a:xfrm>
            <a:off x="6520710"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60" name="Tijdelijke aanduiding voor afbeelding 57">
            <a:extLst>
              <a:ext uri="{FF2B5EF4-FFF2-40B4-BE49-F238E27FC236}">
                <a16:creationId xmlns:a16="http://schemas.microsoft.com/office/drawing/2014/main" id="{92C64300-3DFE-4ED3-B061-1086C5142671}"/>
              </a:ext>
            </a:extLst>
          </p:cNvPr>
          <p:cNvSpPr>
            <a:spLocks noGrp="1"/>
          </p:cNvSpPr>
          <p:nvPr>
            <p:ph type="pic" sz="quarter" idx="12"/>
          </p:nvPr>
        </p:nvSpPr>
        <p:spPr>
          <a:xfrm>
            <a:off x="838200"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29" name="Tijdelijke aanduiding voor afbeelding 57">
            <a:extLst>
              <a:ext uri="{FF2B5EF4-FFF2-40B4-BE49-F238E27FC236}">
                <a16:creationId xmlns:a16="http://schemas.microsoft.com/office/drawing/2014/main" id="{A2908ADB-146B-4FFC-940F-114478DBEDC5}"/>
              </a:ext>
            </a:extLst>
          </p:cNvPr>
          <p:cNvSpPr>
            <a:spLocks noGrp="1"/>
          </p:cNvSpPr>
          <p:nvPr>
            <p:ph type="pic" sz="quarter" idx="14"/>
          </p:nvPr>
        </p:nvSpPr>
        <p:spPr>
          <a:xfrm>
            <a:off x="9361964" y="1733244"/>
            <a:ext cx="1991836" cy="1991836"/>
          </a:xfrm>
          <a:prstGeom prst="ellipse">
            <a:avLst/>
          </a:prstGeom>
          <a:solidFill>
            <a:schemeClr val="bg2"/>
          </a:solidFill>
        </p:spPr>
        <p:txBody>
          <a:bodyPr anchor="ctr">
            <a:normAutofit/>
          </a:bodyPr>
          <a:lstStyle>
            <a:lvl1pPr marL="0" indent="0" algn="ctr">
              <a:buNone/>
              <a:defRPr sz="1400"/>
            </a:lvl1pPr>
          </a:lstStyle>
          <a:p>
            <a:r>
              <a:rPr lang="en-US"/>
              <a:t>Click icon to add picture</a:t>
            </a:r>
            <a:endParaRPr lang="en-GB"/>
          </a:p>
        </p:txBody>
      </p:sp>
      <p:sp>
        <p:nvSpPr>
          <p:cNvPr id="8" name="Tijdelijke aanduiding voor inhoud 7">
            <a:extLst>
              <a:ext uri="{FF2B5EF4-FFF2-40B4-BE49-F238E27FC236}">
                <a16:creationId xmlns:a16="http://schemas.microsoft.com/office/drawing/2014/main" id="{361655FF-F737-47B0-AAB6-8D7FBC047C92}"/>
              </a:ext>
            </a:extLst>
          </p:cNvPr>
          <p:cNvSpPr>
            <a:spLocks noGrp="1"/>
          </p:cNvSpPr>
          <p:nvPr>
            <p:ph sz="quarter" idx="15"/>
          </p:nvPr>
        </p:nvSpPr>
        <p:spPr>
          <a:xfrm>
            <a:off x="838200" y="4078288"/>
            <a:ext cx="10515600" cy="2086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任意形状 66">
            <a:extLst>
              <a:ext uri="{FF2B5EF4-FFF2-40B4-BE49-F238E27FC236}">
                <a16:creationId xmlns:a16="http://schemas.microsoft.com/office/drawing/2014/main" id="{AFED4D00-A44A-4ED7-97B8-E3F8231E6084}"/>
              </a:ext>
            </a:extLst>
          </p:cNvPr>
          <p:cNvSpPr/>
          <p:nvPr/>
        </p:nvSpPr>
        <p:spPr>
          <a:xfrm>
            <a:off x="3106391"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35" name="任意形状 66">
            <a:extLst>
              <a:ext uri="{FF2B5EF4-FFF2-40B4-BE49-F238E27FC236}">
                <a16:creationId xmlns:a16="http://schemas.microsoft.com/office/drawing/2014/main" id="{A322EFEA-BA3D-48DE-81DA-C9080DFC860C}"/>
              </a:ext>
            </a:extLst>
          </p:cNvPr>
          <p:cNvSpPr/>
          <p:nvPr/>
        </p:nvSpPr>
        <p:spPr>
          <a:xfrm>
            <a:off x="5947646"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36" name="任意形状 66">
            <a:extLst>
              <a:ext uri="{FF2B5EF4-FFF2-40B4-BE49-F238E27FC236}">
                <a16:creationId xmlns:a16="http://schemas.microsoft.com/office/drawing/2014/main" id="{655922D4-3BD3-46CF-958B-856DF4C84B21}"/>
              </a:ext>
            </a:extLst>
          </p:cNvPr>
          <p:cNvSpPr/>
          <p:nvPr/>
        </p:nvSpPr>
        <p:spPr>
          <a:xfrm>
            <a:off x="8788901" y="2481906"/>
            <a:ext cx="296709" cy="494512"/>
          </a:xfrm>
          <a:custGeom>
            <a:avLst/>
            <a:gdLst>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6942 w 21600"/>
              <a:gd name="connsiteY11" fmla="*/ 0 h 21600"/>
              <a:gd name="connsiteX12" fmla="*/ 2777 w 21600"/>
              <a:gd name="connsiteY12"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2777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11" fmla="*/ 2777 w 21600"/>
              <a:gd name="connsiteY11" fmla="*/ 10800 h 21600"/>
              <a:gd name="connsiteX0" fmla="*/ 21600 w 21600"/>
              <a:gd name="connsiteY0" fmla="*/ 10800 h 21600"/>
              <a:gd name="connsiteX1" fmla="*/ 14658 w 21600"/>
              <a:gd name="connsiteY1" fmla="*/ 21600 h 21600"/>
              <a:gd name="connsiteX2" fmla="*/ 13269 w 21600"/>
              <a:gd name="connsiteY2" fmla="*/ 19440 h 21600"/>
              <a:gd name="connsiteX3" fmla="*/ 18823 w 21600"/>
              <a:gd name="connsiteY3" fmla="*/ 10800 h 21600"/>
              <a:gd name="connsiteX4" fmla="*/ 13269 w 21600"/>
              <a:gd name="connsiteY4" fmla="*/ 2160 h 21600"/>
              <a:gd name="connsiteX5" fmla="*/ 14658 w 21600"/>
              <a:gd name="connsiteY5" fmla="*/ 0 h 21600"/>
              <a:gd name="connsiteX6" fmla="*/ 21600 w 21600"/>
              <a:gd name="connsiteY6" fmla="*/ 10800 h 21600"/>
              <a:gd name="connsiteX7" fmla="*/ 0 w 21600"/>
              <a:gd name="connsiteY7" fmla="*/ 10800 h 21600"/>
              <a:gd name="connsiteX8" fmla="*/ 8331 w 21600"/>
              <a:gd name="connsiteY8" fmla="*/ 19440 h 21600"/>
              <a:gd name="connsiteX9" fmla="*/ 6942 w 21600"/>
              <a:gd name="connsiteY9" fmla="*/ 21600 h 21600"/>
              <a:gd name="connsiteX10" fmla="*/ 0 w 21600"/>
              <a:gd name="connsiteY10" fmla="*/ 10800 h 21600"/>
              <a:gd name="connsiteX0" fmla="*/ 14658 w 14658"/>
              <a:gd name="connsiteY0" fmla="*/ 10800 h 21600"/>
              <a:gd name="connsiteX1" fmla="*/ 7716 w 14658"/>
              <a:gd name="connsiteY1" fmla="*/ 21600 h 21600"/>
              <a:gd name="connsiteX2" fmla="*/ 6327 w 14658"/>
              <a:gd name="connsiteY2" fmla="*/ 19440 h 21600"/>
              <a:gd name="connsiteX3" fmla="*/ 11881 w 14658"/>
              <a:gd name="connsiteY3" fmla="*/ 10800 h 21600"/>
              <a:gd name="connsiteX4" fmla="*/ 6327 w 14658"/>
              <a:gd name="connsiteY4" fmla="*/ 2160 h 21600"/>
              <a:gd name="connsiteX5" fmla="*/ 7716 w 14658"/>
              <a:gd name="connsiteY5" fmla="*/ 0 h 21600"/>
              <a:gd name="connsiteX6" fmla="*/ 14658 w 14658"/>
              <a:gd name="connsiteY6" fmla="*/ 10800 h 21600"/>
              <a:gd name="connsiteX7" fmla="*/ 0 w 14658"/>
              <a:gd name="connsiteY7" fmla="*/ 21600 h 21600"/>
              <a:gd name="connsiteX8" fmla="*/ 1389 w 14658"/>
              <a:gd name="connsiteY8" fmla="*/ 19440 h 21600"/>
              <a:gd name="connsiteX9" fmla="*/ 0 w 14658"/>
              <a:gd name="connsiteY9" fmla="*/ 21600 h 21600"/>
              <a:gd name="connsiteX0" fmla="*/ 8331 w 8331"/>
              <a:gd name="connsiteY0" fmla="*/ 10800 h 21600"/>
              <a:gd name="connsiteX1" fmla="*/ 1389 w 8331"/>
              <a:gd name="connsiteY1" fmla="*/ 21600 h 21600"/>
              <a:gd name="connsiteX2" fmla="*/ 0 w 8331"/>
              <a:gd name="connsiteY2" fmla="*/ 19440 h 21600"/>
              <a:gd name="connsiteX3" fmla="*/ 5554 w 8331"/>
              <a:gd name="connsiteY3" fmla="*/ 10800 h 21600"/>
              <a:gd name="connsiteX4" fmla="*/ 0 w 8331"/>
              <a:gd name="connsiteY4" fmla="*/ 2160 h 21600"/>
              <a:gd name="connsiteX5" fmla="*/ 1389 w 8331"/>
              <a:gd name="connsiteY5" fmla="*/ 0 h 21600"/>
              <a:gd name="connsiteX6" fmla="*/ 8331 w 8331"/>
              <a:gd name="connsiteY6" fmla="*/ 108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1" h="21600" extrusionOk="0">
                <a:moveTo>
                  <a:pt x="8331" y="10800"/>
                </a:moveTo>
                <a:lnTo>
                  <a:pt x="1389" y="21600"/>
                </a:lnTo>
                <a:lnTo>
                  <a:pt x="0" y="19440"/>
                </a:lnTo>
                <a:lnTo>
                  <a:pt x="5554" y="10800"/>
                </a:lnTo>
                <a:lnTo>
                  <a:pt x="0" y="2160"/>
                </a:lnTo>
                <a:lnTo>
                  <a:pt x="1389" y="0"/>
                </a:lnTo>
                <a:lnTo>
                  <a:pt x="8331" y="10800"/>
                </a:lnTo>
                <a:close/>
              </a:path>
            </a:pathLst>
          </a:custGeom>
          <a:solidFill>
            <a:schemeClr val="accent2"/>
          </a:solidFill>
          <a:ln w="12700" cap="flat">
            <a:noFill/>
            <a:miter lim="400000"/>
          </a:ln>
          <a:effectLst/>
        </p:spPr>
        <p:txBody>
          <a:bodyPr wrap="square" lIns="45719" tIns="45719" rIns="45719" bIns="45719" numCol="1" anchor="ctr">
            <a:noAutofit/>
          </a:bodyPr>
          <a:lstStyle/>
          <a:p>
            <a:endParaRPr/>
          </a:p>
        </p:txBody>
      </p:sp>
      <p:sp>
        <p:nvSpPr>
          <p:cNvPr id="11" name="Rechthoek 10">
            <a:extLst>
              <a:ext uri="{FF2B5EF4-FFF2-40B4-BE49-F238E27FC236}">
                <a16:creationId xmlns:a16="http://schemas.microsoft.com/office/drawing/2014/main" id="{0F64BDDA-83F6-49F6-83E2-CA4C17924C92}"/>
              </a:ext>
            </a:extLst>
          </p:cNvPr>
          <p:cNvSpPr/>
          <p:nvPr/>
        </p:nvSpPr>
        <p:spPr>
          <a:xfrm>
            <a:off x="-4858954" y="395903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2" name="Rechte verbindingslijn 11">
            <a:extLst>
              <a:ext uri="{FF2B5EF4-FFF2-40B4-BE49-F238E27FC236}">
                <a16:creationId xmlns:a16="http://schemas.microsoft.com/office/drawing/2014/main" id="{ABAA067D-68DC-4D17-A232-E09CF41A5A7F}"/>
              </a:ext>
            </a:extLst>
          </p:cNvPr>
          <p:cNvCxnSpPr>
            <a:cxnSpLocks/>
          </p:cNvCxnSpPr>
          <p:nvPr/>
        </p:nvCxnSpPr>
        <p:spPr>
          <a:xfrm>
            <a:off x="-4685618" y="4238444"/>
            <a:ext cx="4309227" cy="0"/>
          </a:xfrm>
          <a:prstGeom prst="line">
            <a:avLst/>
          </a:prstGeom>
          <a:noFill/>
          <a:ln w="9525" cap="flat" cmpd="sng" algn="ctr">
            <a:solidFill>
              <a:schemeClr val="accent2"/>
            </a:solidFill>
            <a:prstDash val="solid"/>
          </a:ln>
          <a:effectLst/>
        </p:spPr>
      </p:cxnSp>
      <p:sp>
        <p:nvSpPr>
          <p:cNvPr id="13" name="Tekstvak 12">
            <a:extLst>
              <a:ext uri="{FF2B5EF4-FFF2-40B4-BE49-F238E27FC236}">
                <a16:creationId xmlns:a16="http://schemas.microsoft.com/office/drawing/2014/main" id="{9BB53258-6B15-4A3E-8076-B8CB9F1A76EE}"/>
              </a:ext>
            </a:extLst>
          </p:cNvPr>
          <p:cNvSpPr txBox="1"/>
          <p:nvPr/>
        </p:nvSpPr>
        <p:spPr>
          <a:xfrm>
            <a:off x="-4685621" y="433892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4" name="Groep 13">
            <a:extLst>
              <a:ext uri="{FF2B5EF4-FFF2-40B4-BE49-F238E27FC236}">
                <a16:creationId xmlns:a16="http://schemas.microsoft.com/office/drawing/2014/main" id="{6524146B-70AA-4032-9964-3C5B0B31D1D1}"/>
              </a:ext>
            </a:extLst>
          </p:cNvPr>
          <p:cNvGrpSpPr/>
          <p:nvPr/>
        </p:nvGrpSpPr>
        <p:grpSpPr>
          <a:xfrm>
            <a:off x="-1425490" y="4409929"/>
            <a:ext cx="250379" cy="249771"/>
            <a:chOff x="-706740" y="145633"/>
            <a:chExt cx="250379" cy="249771"/>
          </a:xfrm>
        </p:grpSpPr>
        <p:sp>
          <p:nvSpPr>
            <p:cNvPr id="15" name="Rechthoek 14">
              <a:extLst>
                <a:ext uri="{FF2B5EF4-FFF2-40B4-BE49-F238E27FC236}">
                  <a16:creationId xmlns:a16="http://schemas.microsoft.com/office/drawing/2014/main" id="{62374F56-6622-4A31-A57F-57868348BAF3}"/>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Gelijkbenige driehoek 128">
              <a:extLst>
                <a:ext uri="{FF2B5EF4-FFF2-40B4-BE49-F238E27FC236}">
                  <a16:creationId xmlns:a16="http://schemas.microsoft.com/office/drawing/2014/main" id="{1AA46C18-1C28-4228-92B3-393252B482BA}"/>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Ovaal 16">
              <a:extLst>
                <a:ext uri="{FF2B5EF4-FFF2-40B4-BE49-F238E27FC236}">
                  <a16:creationId xmlns:a16="http://schemas.microsoft.com/office/drawing/2014/main" id="{B7D978C1-8ECF-42D9-8DAE-3382095D2B8D}"/>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8" name="Rechthoek 17">
              <a:extLst>
                <a:ext uri="{FF2B5EF4-FFF2-40B4-BE49-F238E27FC236}">
                  <a16:creationId xmlns:a16="http://schemas.microsoft.com/office/drawing/2014/main" id="{690E3B56-2C0C-4C5B-9189-8A263AD2B9D8}"/>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9" name="Rechte verbindingslijn 18">
              <a:extLst>
                <a:ext uri="{FF2B5EF4-FFF2-40B4-BE49-F238E27FC236}">
                  <a16:creationId xmlns:a16="http://schemas.microsoft.com/office/drawing/2014/main" id="{16812722-7EFC-46CA-A347-61B4E3C24478}"/>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20" name="Tekstvak 19">
            <a:extLst>
              <a:ext uri="{FF2B5EF4-FFF2-40B4-BE49-F238E27FC236}">
                <a16:creationId xmlns:a16="http://schemas.microsoft.com/office/drawing/2014/main" id="{315FB1F7-DFB7-427C-9170-33BAAFFA4F95}"/>
              </a:ext>
            </a:extLst>
          </p:cNvPr>
          <p:cNvSpPr txBox="1"/>
          <p:nvPr/>
        </p:nvSpPr>
        <p:spPr>
          <a:xfrm>
            <a:off x="-4685621" y="477251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21" name="Tekstvak 20">
            <a:extLst>
              <a:ext uri="{FF2B5EF4-FFF2-40B4-BE49-F238E27FC236}">
                <a16:creationId xmlns:a16="http://schemas.microsoft.com/office/drawing/2014/main" id="{CE9F2863-3BCC-4783-8FAC-A850C593F715}"/>
              </a:ext>
            </a:extLst>
          </p:cNvPr>
          <p:cNvSpPr txBox="1"/>
          <p:nvPr/>
        </p:nvSpPr>
        <p:spPr>
          <a:xfrm>
            <a:off x="-4685621" y="502553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22" name="Groep 21">
            <a:extLst>
              <a:ext uri="{FF2B5EF4-FFF2-40B4-BE49-F238E27FC236}">
                <a16:creationId xmlns:a16="http://schemas.microsoft.com/office/drawing/2014/main" id="{EF5C1873-2EA1-46C1-9B95-EA3E082D60E4}"/>
              </a:ext>
            </a:extLst>
          </p:cNvPr>
          <p:cNvGrpSpPr/>
          <p:nvPr/>
        </p:nvGrpSpPr>
        <p:grpSpPr>
          <a:xfrm>
            <a:off x="-1073403" y="4409928"/>
            <a:ext cx="252000" cy="216024"/>
            <a:chOff x="-932185" y="5325334"/>
            <a:chExt cx="252000" cy="216024"/>
          </a:xfrm>
        </p:grpSpPr>
        <p:sp>
          <p:nvSpPr>
            <p:cNvPr id="23" name="Rechthoek 22">
              <a:extLst>
                <a:ext uri="{FF2B5EF4-FFF2-40B4-BE49-F238E27FC236}">
                  <a16:creationId xmlns:a16="http://schemas.microsoft.com/office/drawing/2014/main" id="{214D8220-166C-4990-AF74-B7A5D85EFC44}"/>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24" name="Groep 23">
              <a:extLst>
                <a:ext uri="{FF2B5EF4-FFF2-40B4-BE49-F238E27FC236}">
                  <a16:creationId xmlns:a16="http://schemas.microsoft.com/office/drawing/2014/main" id="{70F5BEA0-CDF5-4567-BADE-DCEA92538944}"/>
                </a:ext>
              </a:extLst>
            </p:cNvPr>
            <p:cNvGrpSpPr/>
            <p:nvPr userDrawn="1"/>
          </p:nvGrpSpPr>
          <p:grpSpPr>
            <a:xfrm>
              <a:off x="-925512" y="5325900"/>
              <a:ext cx="241658" cy="36000"/>
              <a:chOff x="-964435" y="5325900"/>
              <a:chExt cx="241658" cy="36000"/>
            </a:xfrm>
          </p:grpSpPr>
          <p:sp>
            <p:nvSpPr>
              <p:cNvPr id="37" name="Rechthoek 36">
                <a:extLst>
                  <a:ext uri="{FF2B5EF4-FFF2-40B4-BE49-F238E27FC236}">
                    <a16:creationId xmlns:a16="http://schemas.microsoft.com/office/drawing/2014/main" id="{011CCB6D-09D6-4FF2-B71E-C4F565DBC280}"/>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8" name="Rechthoek 37">
                <a:extLst>
                  <a:ext uri="{FF2B5EF4-FFF2-40B4-BE49-F238E27FC236}">
                    <a16:creationId xmlns:a16="http://schemas.microsoft.com/office/drawing/2014/main" id="{179A6272-710A-434A-AE75-6E0E5E49E057}"/>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9" name="Rechthoek 38">
                <a:extLst>
                  <a:ext uri="{FF2B5EF4-FFF2-40B4-BE49-F238E27FC236}">
                    <a16:creationId xmlns:a16="http://schemas.microsoft.com/office/drawing/2014/main" id="{1AB8BEB7-72F0-4BD5-AE59-595157BC7C4E}"/>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Rechthoek 39">
                <a:extLst>
                  <a:ext uri="{FF2B5EF4-FFF2-40B4-BE49-F238E27FC236}">
                    <a16:creationId xmlns:a16="http://schemas.microsoft.com/office/drawing/2014/main" id="{C7A8E8EB-2657-49CF-A833-5D1ADDA5C370}"/>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1" name="Rechthoek 40">
                <a:extLst>
                  <a:ext uri="{FF2B5EF4-FFF2-40B4-BE49-F238E27FC236}">
                    <a16:creationId xmlns:a16="http://schemas.microsoft.com/office/drawing/2014/main" id="{307525DA-0B92-4588-83A7-5E55B60DDAB1}"/>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2" name="Rechthoek 41">
                <a:extLst>
                  <a:ext uri="{FF2B5EF4-FFF2-40B4-BE49-F238E27FC236}">
                    <a16:creationId xmlns:a16="http://schemas.microsoft.com/office/drawing/2014/main" id="{ACF55B21-7FC6-450D-B67F-19F4B577D5BA}"/>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3" name="Rechthoek 42">
                <a:extLst>
                  <a:ext uri="{FF2B5EF4-FFF2-40B4-BE49-F238E27FC236}">
                    <a16:creationId xmlns:a16="http://schemas.microsoft.com/office/drawing/2014/main" id="{2621F62B-189B-4101-902B-228D718CC106}"/>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25" name="Groep 24">
              <a:extLst>
                <a:ext uri="{FF2B5EF4-FFF2-40B4-BE49-F238E27FC236}">
                  <a16:creationId xmlns:a16="http://schemas.microsoft.com/office/drawing/2014/main" id="{FFB58F2F-A65B-43BF-8590-8F6BD1A6D93D}"/>
                </a:ext>
              </a:extLst>
            </p:cNvPr>
            <p:cNvGrpSpPr/>
            <p:nvPr userDrawn="1"/>
          </p:nvGrpSpPr>
          <p:grpSpPr>
            <a:xfrm>
              <a:off x="-925512" y="5502593"/>
              <a:ext cx="241658" cy="36000"/>
              <a:chOff x="-964435" y="5325900"/>
              <a:chExt cx="241658" cy="36000"/>
            </a:xfrm>
          </p:grpSpPr>
          <p:sp>
            <p:nvSpPr>
              <p:cNvPr id="26" name="Rechthoek 25">
                <a:extLst>
                  <a:ext uri="{FF2B5EF4-FFF2-40B4-BE49-F238E27FC236}">
                    <a16:creationId xmlns:a16="http://schemas.microsoft.com/office/drawing/2014/main" id="{8D8F4811-1508-4277-808B-8DB87BDE03B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Rechthoek 26">
                <a:extLst>
                  <a:ext uri="{FF2B5EF4-FFF2-40B4-BE49-F238E27FC236}">
                    <a16:creationId xmlns:a16="http://schemas.microsoft.com/office/drawing/2014/main" id="{D1D2CC7F-B5F6-452E-A62C-8C0C0B77D281}"/>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8" name="Rechthoek 27">
                <a:extLst>
                  <a:ext uri="{FF2B5EF4-FFF2-40B4-BE49-F238E27FC236}">
                    <a16:creationId xmlns:a16="http://schemas.microsoft.com/office/drawing/2014/main" id="{54A3C999-4B62-4BC8-82F7-5D137C6463C6}"/>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echthoek 29">
                <a:extLst>
                  <a:ext uri="{FF2B5EF4-FFF2-40B4-BE49-F238E27FC236}">
                    <a16:creationId xmlns:a16="http://schemas.microsoft.com/office/drawing/2014/main" id="{EE721BE1-8E4D-49DA-9377-13B31FE84D78}"/>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Rechthoek 30">
                <a:extLst>
                  <a:ext uri="{FF2B5EF4-FFF2-40B4-BE49-F238E27FC236}">
                    <a16:creationId xmlns:a16="http://schemas.microsoft.com/office/drawing/2014/main" id="{44C3CEF0-4A60-4B88-B408-28CF105451B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Rechthoek 31">
                <a:extLst>
                  <a:ext uri="{FF2B5EF4-FFF2-40B4-BE49-F238E27FC236}">
                    <a16:creationId xmlns:a16="http://schemas.microsoft.com/office/drawing/2014/main" id="{D57B8AB8-140B-45CD-9327-7A72D526F971}"/>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3" name="Rechthoek 32">
                <a:extLst>
                  <a:ext uri="{FF2B5EF4-FFF2-40B4-BE49-F238E27FC236}">
                    <a16:creationId xmlns:a16="http://schemas.microsoft.com/office/drawing/2014/main" id="{E4AFCDCA-C7EE-4B7C-8DF3-D100A12058DA}"/>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44" name="Tekstvak 43">
            <a:extLst>
              <a:ext uri="{FF2B5EF4-FFF2-40B4-BE49-F238E27FC236}">
                <a16:creationId xmlns:a16="http://schemas.microsoft.com/office/drawing/2014/main" id="{273947A7-9254-4672-9759-A7EB91635602}"/>
              </a:ext>
            </a:extLst>
          </p:cNvPr>
          <p:cNvSpPr txBox="1"/>
          <p:nvPr/>
        </p:nvSpPr>
        <p:spPr>
          <a:xfrm>
            <a:off x="-4685622" y="544955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
        <p:nvSpPr>
          <p:cNvPr id="3" name="Tijdelijke aanduiding voor voettekst 2">
            <a:extLst>
              <a:ext uri="{FF2B5EF4-FFF2-40B4-BE49-F238E27FC236}">
                <a16:creationId xmlns:a16="http://schemas.microsoft.com/office/drawing/2014/main" id="{E0F915DA-A1E8-4934-89C5-26A0771FE7B1}"/>
              </a:ext>
            </a:extLst>
          </p:cNvPr>
          <p:cNvSpPr>
            <a:spLocks noGrp="1"/>
          </p:cNvSpPr>
          <p:nvPr>
            <p:ph type="ftr" sz="quarter" idx="16"/>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B30C73B2-9DD4-41C9-AA89-1A9861D1BBA6}"/>
              </a:ext>
            </a:extLst>
          </p:cNvPr>
          <p:cNvSpPr>
            <a:spLocks noGrp="1"/>
          </p:cNvSpPr>
          <p:nvPr>
            <p:ph type="sldNum" sz="quarter" idx="17"/>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40349959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agram - 6 options in colo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5" name="Graphic 3">
            <a:extLst>
              <a:ext uri="{FF2B5EF4-FFF2-40B4-BE49-F238E27FC236}">
                <a16:creationId xmlns:a16="http://schemas.microsoft.com/office/drawing/2014/main" id="{037837D3-888D-4305-AF2D-309CAC832B1A}"/>
              </a:ext>
            </a:extLst>
          </p:cNvPr>
          <p:cNvSpPr/>
          <p:nvPr/>
        </p:nvSpPr>
        <p:spPr>
          <a:xfrm rot="1483458">
            <a:off x="4251229" y="1391096"/>
            <a:ext cx="1817966" cy="2020312"/>
          </a:xfrm>
          <a:custGeom>
            <a:avLst/>
            <a:gdLst>
              <a:gd name="connsiteX0" fmla="*/ 1813421 w 1817966"/>
              <a:gd name="connsiteY0" fmla="*/ 1176110 h 2020312"/>
              <a:gd name="connsiteX1" fmla="*/ 1477616 w 1817966"/>
              <a:gd name="connsiteY1" fmla="*/ 1536180 h 2020312"/>
              <a:gd name="connsiteX2" fmla="*/ 1328519 w 1817966"/>
              <a:gd name="connsiteY2" fmla="*/ 2018701 h 2020312"/>
              <a:gd name="connsiteX3" fmla="*/ 686567 w 1817966"/>
              <a:gd name="connsiteY3" fmla="*/ 1788045 h 2020312"/>
              <a:gd name="connsiteX4" fmla="*/ -4321 w 1817966"/>
              <a:gd name="connsiteY4" fmla="*/ 2018701 h 2020312"/>
              <a:gd name="connsiteX5" fmla="*/ 1139608 w 1817966"/>
              <a:gd name="connsiteY5" fmla="*/ -1612 h 2020312"/>
              <a:gd name="connsiteX6" fmla="*/ 1813645 w 1817966"/>
              <a:gd name="connsiteY6" fmla="*/ 433232 h 202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966" h="2020312">
                <a:moveTo>
                  <a:pt x="1813421" y="1176110"/>
                </a:moveTo>
                <a:cubicBezTo>
                  <a:pt x="1676231" y="1269801"/>
                  <a:pt x="1561511" y="1392790"/>
                  <a:pt x="1477616" y="1536180"/>
                </a:cubicBezTo>
                <a:cubicBezTo>
                  <a:pt x="1391429" y="1683390"/>
                  <a:pt x="1340426" y="1848529"/>
                  <a:pt x="1328519" y="2018701"/>
                </a:cubicBezTo>
                <a:lnTo>
                  <a:pt x="686567" y="1788045"/>
                </a:lnTo>
                <a:lnTo>
                  <a:pt x="-4321" y="2018701"/>
                </a:lnTo>
                <a:cubicBezTo>
                  <a:pt x="20394" y="1197814"/>
                  <a:pt x="448407" y="441904"/>
                  <a:pt x="1139608" y="-1612"/>
                </a:cubicBezTo>
                <a:lnTo>
                  <a:pt x="1813645" y="433232"/>
                </a:lnTo>
                <a:close/>
              </a:path>
            </a:pathLst>
          </a:custGeom>
          <a:solidFill>
            <a:schemeClr val="accent6"/>
          </a:solidFill>
          <a:ln w="4486" cap="flat">
            <a:noFill/>
            <a:prstDash val="solid"/>
            <a:miter/>
          </a:ln>
        </p:spPr>
        <p:txBody>
          <a:bodyPr rtlCol="0" anchor="ctr"/>
          <a:lstStyle/>
          <a:p>
            <a:endParaRPr lang="en-GB"/>
          </a:p>
        </p:txBody>
      </p:sp>
      <p:sp>
        <p:nvSpPr>
          <p:cNvPr id="6" name="Graphic 3">
            <a:extLst>
              <a:ext uri="{FF2B5EF4-FFF2-40B4-BE49-F238E27FC236}">
                <a16:creationId xmlns:a16="http://schemas.microsoft.com/office/drawing/2014/main" id="{037837D3-888D-4305-AF2D-309CAC832B1A}"/>
              </a:ext>
            </a:extLst>
          </p:cNvPr>
          <p:cNvSpPr/>
          <p:nvPr/>
        </p:nvSpPr>
        <p:spPr>
          <a:xfrm rot="1483458">
            <a:off x="5669569" y="1709799"/>
            <a:ext cx="2302779" cy="1475129"/>
          </a:xfrm>
          <a:custGeom>
            <a:avLst/>
            <a:gdLst>
              <a:gd name="connsiteX0" fmla="*/ 2298458 w 2302779"/>
              <a:gd name="connsiteY0" fmla="*/ 289326 h 1475129"/>
              <a:gd name="connsiteX1" fmla="*/ 2251679 w 2302779"/>
              <a:gd name="connsiteY1" fmla="*/ 1043078 h 1475129"/>
              <a:gd name="connsiteX2" fmla="*/ 1631971 w 2302779"/>
              <a:gd name="connsiteY2" fmla="*/ 1467722 h 1475129"/>
              <a:gd name="connsiteX3" fmla="*/ 1404462 w 2302779"/>
              <a:gd name="connsiteY3" fmla="*/ 1389443 h 1475129"/>
              <a:gd name="connsiteX4" fmla="*/ 903965 w 2302779"/>
              <a:gd name="connsiteY4" fmla="*/ 1390926 h 1475129"/>
              <a:gd name="connsiteX5" fmla="*/ 670299 w 2302779"/>
              <a:gd name="connsiteY5" fmla="*/ 1473518 h 1475129"/>
              <a:gd name="connsiteX6" fmla="*/ 694250 w 2302779"/>
              <a:gd name="connsiteY6" fmla="*/ 736032 h 1475129"/>
              <a:gd name="connsiteX7" fmla="*/ -4321 w 2302779"/>
              <a:gd name="connsiteY7" fmla="*/ 294583 h 1475129"/>
              <a:gd name="connsiteX8" fmla="*/ 2298278 w 2302779"/>
              <a:gd name="connsiteY8" fmla="*/ 289326 h 147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2779" h="1475129">
                <a:moveTo>
                  <a:pt x="2298458" y="289326"/>
                </a:moveTo>
                <a:lnTo>
                  <a:pt x="2251679" y="1043078"/>
                </a:lnTo>
                <a:lnTo>
                  <a:pt x="1631971" y="1467722"/>
                </a:lnTo>
                <a:cubicBezTo>
                  <a:pt x="1559220" y="1433436"/>
                  <a:pt x="1482920" y="1407193"/>
                  <a:pt x="1404462" y="1389443"/>
                </a:cubicBezTo>
                <a:cubicBezTo>
                  <a:pt x="1239637" y="1352326"/>
                  <a:pt x="1068567" y="1352865"/>
                  <a:pt x="903965" y="1390926"/>
                </a:cubicBezTo>
                <a:cubicBezTo>
                  <a:pt x="823217" y="1409574"/>
                  <a:pt x="744849" y="1437300"/>
                  <a:pt x="670299" y="1473518"/>
                </a:cubicBezTo>
                <a:lnTo>
                  <a:pt x="694250" y="736032"/>
                </a:lnTo>
                <a:lnTo>
                  <a:pt x="-4321" y="294583"/>
                </a:lnTo>
                <a:cubicBezTo>
                  <a:pt x="712405" y="-98470"/>
                  <a:pt x="1579755" y="-100447"/>
                  <a:pt x="2298278" y="289326"/>
                </a:cubicBezTo>
                <a:close/>
              </a:path>
            </a:pathLst>
          </a:custGeom>
          <a:solidFill>
            <a:schemeClr val="accent3"/>
          </a:solidFill>
          <a:ln w="4486" cap="flat">
            <a:noFill/>
            <a:prstDash val="solid"/>
            <a:miter/>
          </a:ln>
        </p:spPr>
        <p:txBody>
          <a:bodyPr rtlCol="0" anchor="ctr"/>
          <a:lstStyle/>
          <a:p>
            <a:endParaRPr lang="en-GB"/>
          </a:p>
        </p:txBody>
      </p:sp>
      <p:sp>
        <p:nvSpPr>
          <p:cNvPr id="7" name="Graphic 3">
            <a:extLst>
              <a:ext uri="{FF2B5EF4-FFF2-40B4-BE49-F238E27FC236}">
                <a16:creationId xmlns:a16="http://schemas.microsoft.com/office/drawing/2014/main" id="{037837D3-888D-4305-AF2D-309CAC832B1A}"/>
              </a:ext>
            </a:extLst>
          </p:cNvPr>
          <p:cNvSpPr/>
          <p:nvPr/>
        </p:nvSpPr>
        <p:spPr>
          <a:xfrm rot="1483458">
            <a:off x="6981052" y="2655178"/>
            <a:ext cx="1819403" cy="2291724"/>
          </a:xfrm>
          <a:custGeom>
            <a:avLst/>
            <a:gdLst>
              <a:gd name="connsiteX0" fmla="*/ 1815082 w 1819403"/>
              <a:gd name="connsiteY0" fmla="*/ 2024992 h 2291724"/>
              <a:gd name="connsiteX1" fmla="*/ 1144146 w 1819403"/>
              <a:gd name="connsiteY1" fmla="*/ 2290113 h 2291724"/>
              <a:gd name="connsiteX2" fmla="*/ 492577 w 1819403"/>
              <a:gd name="connsiteY2" fmla="*/ 2025262 h 2291724"/>
              <a:gd name="connsiteX3" fmla="*/ 339795 w 1819403"/>
              <a:gd name="connsiteY3" fmla="*/ 1536405 h 2291724"/>
              <a:gd name="connsiteX4" fmla="*/ -4321 w 1819403"/>
              <a:gd name="connsiteY4" fmla="*/ 1174447 h 2291724"/>
              <a:gd name="connsiteX5" fmla="*/ 575081 w 1819403"/>
              <a:gd name="connsiteY5" fmla="*/ 813568 h 2291724"/>
              <a:gd name="connsiteX6" fmla="*/ 660862 w 1819403"/>
              <a:gd name="connsiteY6" fmla="*/ -1612 h 2291724"/>
              <a:gd name="connsiteX7" fmla="*/ 1815082 w 1819403"/>
              <a:gd name="connsiteY7" fmla="*/ 2024992 h 22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403" h="2291724">
                <a:moveTo>
                  <a:pt x="1815082" y="2024992"/>
                </a:moveTo>
                <a:lnTo>
                  <a:pt x="1144146" y="2290113"/>
                </a:lnTo>
                <a:lnTo>
                  <a:pt x="492577" y="2025262"/>
                </a:lnTo>
                <a:cubicBezTo>
                  <a:pt x="480489" y="1852618"/>
                  <a:pt x="428186" y="1685187"/>
                  <a:pt x="339795" y="1536405"/>
                </a:cubicBezTo>
                <a:cubicBezTo>
                  <a:pt x="253744" y="1391442"/>
                  <a:pt x="136103" y="1267734"/>
                  <a:pt x="-4321" y="1174447"/>
                </a:cubicBezTo>
                <a:lnTo>
                  <a:pt x="575081" y="813568"/>
                </a:lnTo>
                <a:lnTo>
                  <a:pt x="660862" y="-1612"/>
                </a:lnTo>
                <a:cubicBezTo>
                  <a:pt x="1357997" y="440601"/>
                  <a:pt x="1790368" y="1199791"/>
                  <a:pt x="1815082" y="2024992"/>
                </a:cubicBezTo>
                <a:close/>
              </a:path>
            </a:pathLst>
          </a:custGeom>
          <a:solidFill>
            <a:schemeClr val="accent1"/>
          </a:solidFill>
          <a:ln w="4486"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037837D3-888D-4305-AF2D-309CAC832B1A}"/>
              </a:ext>
            </a:extLst>
          </p:cNvPr>
          <p:cNvSpPr/>
          <p:nvPr/>
        </p:nvSpPr>
        <p:spPr>
          <a:xfrm rot="1483458">
            <a:off x="6124564" y="4658708"/>
            <a:ext cx="1815989" cy="2020358"/>
          </a:xfrm>
          <a:custGeom>
            <a:avLst/>
            <a:gdLst>
              <a:gd name="connsiteX0" fmla="*/ 1811668 w 1815989"/>
              <a:gd name="connsiteY0" fmla="*/ -1567 h 2020358"/>
              <a:gd name="connsiteX1" fmla="*/ 667379 w 1815989"/>
              <a:gd name="connsiteY1" fmla="*/ 2018746 h 2020358"/>
              <a:gd name="connsiteX2" fmla="*/ 96425 w 1815989"/>
              <a:gd name="connsiteY2" fmla="*/ 1541574 h 2020358"/>
              <a:gd name="connsiteX3" fmla="*/ -4321 w 1815989"/>
              <a:gd name="connsiteY3" fmla="*/ 844799 h 2020358"/>
              <a:gd name="connsiteX4" fmla="*/ 336877 w 1815989"/>
              <a:gd name="connsiteY4" fmla="*/ 484144 h 2020358"/>
              <a:gd name="connsiteX5" fmla="*/ 488805 w 1815989"/>
              <a:gd name="connsiteY5" fmla="*/ -1612 h 2020358"/>
              <a:gd name="connsiteX6" fmla="*/ 1127297 w 1815989"/>
              <a:gd name="connsiteY6" fmla="*/ 251647 h 20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989" h="2020358">
                <a:moveTo>
                  <a:pt x="1811668" y="-1567"/>
                </a:moveTo>
                <a:cubicBezTo>
                  <a:pt x="1786864" y="819411"/>
                  <a:pt x="1358716" y="1575320"/>
                  <a:pt x="667379" y="2018746"/>
                </a:cubicBezTo>
                <a:lnTo>
                  <a:pt x="96425" y="1541574"/>
                </a:lnTo>
                <a:lnTo>
                  <a:pt x="-4321" y="844799"/>
                </a:lnTo>
                <a:cubicBezTo>
                  <a:pt x="134890" y="751557"/>
                  <a:pt x="251499" y="628299"/>
                  <a:pt x="336877" y="484144"/>
                </a:cubicBezTo>
                <a:cubicBezTo>
                  <a:pt x="424502" y="336171"/>
                  <a:pt x="476492" y="169909"/>
                  <a:pt x="488805" y="-1612"/>
                </a:cubicBezTo>
                <a:lnTo>
                  <a:pt x="1127297" y="251647"/>
                </a:lnTo>
                <a:close/>
              </a:path>
            </a:pathLst>
          </a:custGeom>
          <a:solidFill>
            <a:schemeClr val="accent2"/>
          </a:solidFill>
          <a:ln w="4486"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037837D3-888D-4305-AF2D-309CAC832B1A}"/>
              </a:ext>
            </a:extLst>
          </p:cNvPr>
          <p:cNvSpPr/>
          <p:nvPr/>
        </p:nvSpPr>
        <p:spPr>
          <a:xfrm rot="1483458">
            <a:off x="3379559" y="3176138"/>
            <a:ext cx="1823763" cy="2237128"/>
          </a:xfrm>
          <a:custGeom>
            <a:avLst/>
            <a:gdLst>
              <a:gd name="connsiteX0" fmla="*/ 1819442 w 1823763"/>
              <a:gd name="connsiteY0" fmla="*/ 1052807 h 2237128"/>
              <a:gd name="connsiteX1" fmla="*/ 1292210 w 1823763"/>
              <a:gd name="connsiteY1" fmla="*/ 1488684 h 2237128"/>
              <a:gd name="connsiteX2" fmla="*/ 1149899 w 1823763"/>
              <a:gd name="connsiteY2" fmla="*/ 2235517 h 2237128"/>
              <a:gd name="connsiteX3" fmla="*/ -4321 w 1823763"/>
              <a:gd name="connsiteY3" fmla="*/ 208553 h 2237128"/>
              <a:gd name="connsiteX4" fmla="*/ 657492 w 1823763"/>
              <a:gd name="connsiteY4" fmla="*/ -1612 h 2237128"/>
              <a:gd name="connsiteX5" fmla="*/ 1328922 w 1823763"/>
              <a:gd name="connsiteY5" fmla="*/ 208553 h 2237128"/>
              <a:gd name="connsiteX6" fmla="*/ 1480043 w 1823763"/>
              <a:gd name="connsiteY6" fmla="*/ 692781 h 2237128"/>
              <a:gd name="connsiteX7" fmla="*/ 1819442 w 1823763"/>
              <a:gd name="connsiteY7" fmla="*/ 1052807 h 223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3763" h="2237128">
                <a:moveTo>
                  <a:pt x="1819442" y="1052807"/>
                </a:moveTo>
                <a:lnTo>
                  <a:pt x="1292210" y="1488684"/>
                </a:lnTo>
                <a:lnTo>
                  <a:pt x="1149899" y="2235517"/>
                </a:lnTo>
                <a:cubicBezTo>
                  <a:pt x="452900" y="1792989"/>
                  <a:pt x="20617" y="1033754"/>
                  <a:pt x="-4321" y="208553"/>
                </a:cubicBezTo>
                <a:lnTo>
                  <a:pt x="657492" y="-1612"/>
                </a:lnTo>
                <a:lnTo>
                  <a:pt x="1328922" y="208553"/>
                </a:lnTo>
                <a:cubicBezTo>
                  <a:pt x="1341236" y="379444"/>
                  <a:pt x="1392956" y="545213"/>
                  <a:pt x="1480043" y="692781"/>
                </a:cubicBezTo>
                <a:cubicBezTo>
                  <a:pt x="1564971" y="836575"/>
                  <a:pt x="1680905" y="959565"/>
                  <a:pt x="1819442" y="1052807"/>
                </a:cubicBezTo>
                <a:close/>
              </a:path>
            </a:pathLst>
          </a:custGeom>
          <a:solidFill>
            <a:schemeClr val="accent5"/>
          </a:solidFill>
          <a:ln w="4486" cap="flat">
            <a:noFill/>
            <a:prstDash val="solid"/>
            <a:miter/>
          </a:ln>
        </p:spPr>
        <p:txBody>
          <a:bodyPr rtlCol="0" anchor="ctr"/>
          <a:lstStyle/>
          <a:p>
            <a:endParaRPr lang="en-GB"/>
          </a:p>
        </p:txBody>
      </p:sp>
      <p:sp>
        <p:nvSpPr>
          <p:cNvPr id="10" name="Graphic 3">
            <a:extLst>
              <a:ext uri="{FF2B5EF4-FFF2-40B4-BE49-F238E27FC236}">
                <a16:creationId xmlns:a16="http://schemas.microsoft.com/office/drawing/2014/main" id="{037837D3-888D-4305-AF2D-309CAC832B1A}"/>
              </a:ext>
            </a:extLst>
          </p:cNvPr>
          <p:cNvSpPr/>
          <p:nvPr/>
        </p:nvSpPr>
        <p:spPr>
          <a:xfrm rot="1483458">
            <a:off x="4219616" y="4885164"/>
            <a:ext cx="2302239" cy="1474744"/>
          </a:xfrm>
          <a:custGeom>
            <a:avLst/>
            <a:gdLst>
              <a:gd name="connsiteX0" fmla="*/ 2297918 w 2302239"/>
              <a:gd name="connsiteY0" fmla="*/ 1176919 h 1474744"/>
              <a:gd name="connsiteX1" fmla="*/ -4321 w 2302239"/>
              <a:gd name="connsiteY1" fmla="*/ 1182716 h 1474744"/>
              <a:gd name="connsiteX2" fmla="*/ 135697 w 2302239"/>
              <a:gd name="connsiteY2" fmla="*/ 459250 h 1474744"/>
              <a:gd name="connsiteX3" fmla="*/ 665940 w 2302239"/>
              <a:gd name="connsiteY3" fmla="*/ -1612 h 1474744"/>
              <a:gd name="connsiteX4" fmla="*/ 1395652 w 2302239"/>
              <a:gd name="connsiteY4" fmla="*/ 79273 h 1474744"/>
              <a:gd name="connsiteX5" fmla="*/ 1624601 w 2302239"/>
              <a:gd name="connsiteY5" fmla="*/ 6 h 1474744"/>
              <a:gd name="connsiteX6" fmla="*/ 1695869 w 2302239"/>
              <a:gd name="connsiteY6" fmla="*/ 682490 h 147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239" h="1474744">
                <a:moveTo>
                  <a:pt x="2297918" y="1176919"/>
                </a:moveTo>
                <a:cubicBezTo>
                  <a:pt x="1581326" y="1569793"/>
                  <a:pt x="714246" y="1571995"/>
                  <a:pt x="-4321" y="1182716"/>
                </a:cubicBezTo>
                <a:lnTo>
                  <a:pt x="135697" y="459250"/>
                </a:lnTo>
                <a:lnTo>
                  <a:pt x="665940" y="-1612"/>
                </a:lnTo>
                <a:cubicBezTo>
                  <a:pt x="893271" y="106324"/>
                  <a:pt x="1150213" y="134814"/>
                  <a:pt x="1395652" y="79273"/>
                </a:cubicBezTo>
                <a:cubicBezTo>
                  <a:pt x="1474650" y="61298"/>
                  <a:pt x="1551401" y="34742"/>
                  <a:pt x="1624601" y="6"/>
                </a:cubicBezTo>
                <a:lnTo>
                  <a:pt x="1695869" y="682490"/>
                </a:lnTo>
                <a:close/>
              </a:path>
            </a:pathLst>
          </a:custGeom>
          <a:solidFill>
            <a:schemeClr val="accent4"/>
          </a:solidFill>
          <a:ln w="4486" cap="flat">
            <a:noFill/>
            <a:prstDash val="solid"/>
            <a:miter/>
          </a:ln>
        </p:spPr>
        <p:txBody>
          <a:bodyPr rtlCol="0" anchor="ctr"/>
          <a:lstStyle/>
          <a:p>
            <a:endParaRPr lang="en-GB"/>
          </a:p>
        </p:txBody>
      </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44" name="Tijdelijke aanduiding voor tekst 11">
            <a:extLst>
              <a:ext uri="{FF2B5EF4-FFF2-40B4-BE49-F238E27FC236}">
                <a16:creationId xmlns:a16="http://schemas.microsoft.com/office/drawing/2014/main" id="{57FB1A36-5430-45DC-AD88-3BD8847AB12B}"/>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0C7EA4DD-F03C-43E6-AD43-DE68E53E4EFF}"/>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8482F9D7-4D91-4F9E-B438-FFF0D2AE7E42}"/>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211834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44">
                                            <p:txEl>
                                              <p:pRg st="0" end="0"/>
                                            </p:txEl>
                                          </p:spTgt>
                                        </p:tgtEl>
                                        <p:attrNameLst>
                                          <p:attrName>style.visibility</p:attrName>
                                        </p:attrNameLst>
                                      </p:cBhvr>
                                      <p:to>
                                        <p:strVal val="visible"/>
                                      </p:to>
                                    </p:set>
                                    <p:anim calcmode="lin" valueType="num">
                                      <p:cBhvr>
                                        <p:cTn id="25"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agram - 6 options - 2 in color">
    <p:spTree>
      <p:nvGrpSpPr>
        <p:cNvPr id="1" name=""/>
        <p:cNvGrpSpPr/>
        <p:nvPr/>
      </p:nvGrpSpPr>
      <p:grpSpPr>
        <a:xfrm>
          <a:off x="0" y="0"/>
          <a:ext cx="0" cy="0"/>
          <a:chOff x="0" y="0"/>
          <a:chExt cx="0" cy="0"/>
        </a:xfrm>
      </p:grpSpPr>
      <p:sp>
        <p:nvSpPr>
          <p:cNvPr id="12" name="Graphic 3">
            <a:extLst>
              <a:ext uri="{FF2B5EF4-FFF2-40B4-BE49-F238E27FC236}">
                <a16:creationId xmlns:a16="http://schemas.microsoft.com/office/drawing/2014/main" id="{677A3EDC-AE74-431E-9E11-3F23EA820598}"/>
              </a:ext>
            </a:extLst>
          </p:cNvPr>
          <p:cNvSpPr/>
          <p:nvPr/>
        </p:nvSpPr>
        <p:spPr>
          <a:xfrm>
            <a:off x="3990430" y="1557380"/>
            <a:ext cx="2013766" cy="1878261"/>
          </a:xfrm>
          <a:custGeom>
            <a:avLst/>
            <a:gdLst>
              <a:gd name="connsiteX0" fmla="*/ 2012943 w 2013766"/>
              <a:gd name="connsiteY0" fmla="*/ 1428735 h 1878261"/>
              <a:gd name="connsiteX1" fmla="*/ 2012943 w 2013766"/>
              <a:gd name="connsiteY1" fmla="*/ -223 h 1878261"/>
              <a:gd name="connsiteX2" fmla="*/ -823 w 2013766"/>
              <a:gd name="connsiteY2" fmla="*/ 1163884 h 1878261"/>
              <a:gd name="connsiteX3" fmla="*/ 523365 w 2013766"/>
              <a:gd name="connsiteY3" fmla="*/ 1466662 h 1878261"/>
              <a:gd name="connsiteX4" fmla="*/ 1236547 w 2013766"/>
              <a:gd name="connsiteY4" fmla="*/ 1878039 h 1878261"/>
              <a:gd name="connsiteX5" fmla="*/ 2012943 w 2013766"/>
              <a:gd name="connsiteY5" fmla="*/ 1428735 h 187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3766" h="1878261">
                <a:moveTo>
                  <a:pt x="2012943" y="1428735"/>
                </a:moveTo>
                <a:lnTo>
                  <a:pt x="2012943" y="-223"/>
                </a:lnTo>
                <a:cubicBezTo>
                  <a:pt x="1191358" y="33913"/>
                  <a:pt x="438756" y="468954"/>
                  <a:pt x="-823" y="1163884"/>
                </a:cubicBezTo>
                <a:lnTo>
                  <a:pt x="523365" y="1466662"/>
                </a:lnTo>
                <a:lnTo>
                  <a:pt x="1236547" y="1878039"/>
                </a:lnTo>
                <a:cubicBezTo>
                  <a:pt x="1417405" y="1622201"/>
                  <a:pt x="1700991" y="1458072"/>
                  <a:pt x="2012943" y="1428735"/>
                </a:cubicBezTo>
                <a:close/>
              </a:path>
            </a:pathLst>
          </a:custGeom>
          <a:solidFill>
            <a:schemeClr val="accent6"/>
          </a:solidFill>
          <a:ln w="32410" cap="flat">
            <a:noFill/>
            <a:prstDash val="solid"/>
            <a:miter/>
          </a:ln>
        </p:spPr>
        <p:txBody>
          <a:bodyPr rtlCol="0" anchor="ctr"/>
          <a:lstStyle/>
          <a:p>
            <a:endParaRPr lang="en-GB"/>
          </a:p>
        </p:txBody>
      </p:sp>
      <p:sp>
        <p:nvSpPr>
          <p:cNvPr id="13" name="Graphic 3">
            <a:extLst>
              <a:ext uri="{FF2B5EF4-FFF2-40B4-BE49-F238E27FC236}">
                <a16:creationId xmlns:a16="http://schemas.microsoft.com/office/drawing/2014/main" id="{677A3EDC-AE74-431E-9E11-3F23EA820598}"/>
              </a:ext>
            </a:extLst>
          </p:cNvPr>
          <p:cNvSpPr/>
          <p:nvPr/>
        </p:nvSpPr>
        <p:spPr>
          <a:xfrm>
            <a:off x="3604177" y="2890058"/>
            <a:ext cx="1524750" cy="2325620"/>
          </a:xfrm>
          <a:custGeom>
            <a:avLst/>
            <a:gdLst>
              <a:gd name="connsiteX0" fmla="*/ 1523927 w 1524750"/>
              <a:gd name="connsiteY0" fmla="*/ 712959 h 2325620"/>
              <a:gd name="connsiteX1" fmla="*/ 286557 w 1524750"/>
              <a:gd name="connsiteY1" fmla="*/ -223 h 2325620"/>
              <a:gd name="connsiteX2" fmla="*/ 286557 w 1524750"/>
              <a:gd name="connsiteY2" fmla="*/ 2325398 h 2325620"/>
              <a:gd name="connsiteX3" fmla="*/ 1523927 w 1524750"/>
              <a:gd name="connsiteY3" fmla="*/ 1612216 h 2325620"/>
              <a:gd name="connsiteX4" fmla="*/ 1523927 w 1524750"/>
              <a:gd name="connsiteY4" fmla="*/ 715552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1523927" y="712959"/>
                </a:moveTo>
                <a:lnTo>
                  <a:pt x="286557" y="-223"/>
                </a:lnTo>
                <a:cubicBezTo>
                  <a:pt x="-96616" y="727644"/>
                  <a:pt x="-96616" y="1597531"/>
                  <a:pt x="286557" y="2325398"/>
                </a:cubicBezTo>
                <a:lnTo>
                  <a:pt x="1523927" y="1612216"/>
                </a:lnTo>
                <a:cubicBezTo>
                  <a:pt x="1392637" y="1327754"/>
                  <a:pt x="1392637" y="1000014"/>
                  <a:pt x="1523927" y="715552"/>
                </a:cubicBezTo>
                <a:close/>
              </a:path>
            </a:pathLst>
          </a:custGeom>
          <a:solidFill>
            <a:schemeClr val="accent5"/>
          </a:solidFill>
          <a:ln w="32410" cap="flat">
            <a:noFill/>
            <a:prstDash val="solid"/>
            <a:miter/>
          </a:ln>
        </p:spPr>
        <p:txBody>
          <a:bodyPr rtlCol="0" anchor="ctr"/>
          <a:lstStyle/>
          <a:p>
            <a:endParaRPr lang="en-GB"/>
          </a:p>
        </p:txBody>
      </p:sp>
      <p:sp>
        <p:nvSpPr>
          <p:cNvPr id="14" name="Graphic 3">
            <a:extLst>
              <a:ext uri="{FF2B5EF4-FFF2-40B4-BE49-F238E27FC236}">
                <a16:creationId xmlns:a16="http://schemas.microsoft.com/office/drawing/2014/main" id="{677A3EDC-AE74-431E-9E11-3F23EA820598}"/>
              </a:ext>
            </a:extLst>
          </p:cNvPr>
          <p:cNvSpPr/>
          <p:nvPr/>
        </p:nvSpPr>
        <p:spPr>
          <a:xfrm>
            <a:off x="6198700" y="1557380"/>
            <a:ext cx="2015386" cy="1877289"/>
          </a:xfrm>
          <a:custGeom>
            <a:avLst/>
            <a:gdLst>
              <a:gd name="connsiteX0" fmla="*/ 777194 w 2015386"/>
              <a:gd name="connsiteY0" fmla="*/ 1877066 h 1877289"/>
              <a:gd name="connsiteX1" fmla="*/ 2014564 w 2015386"/>
              <a:gd name="connsiteY1" fmla="*/ 1163884 h 1877289"/>
              <a:gd name="connsiteX2" fmla="*/ -823 w 2015386"/>
              <a:gd name="connsiteY2" fmla="*/ -223 h 1877289"/>
              <a:gd name="connsiteX3" fmla="*/ -823 w 2015386"/>
              <a:gd name="connsiteY3" fmla="*/ 1428735 h 1877289"/>
              <a:gd name="connsiteX4" fmla="*/ 777194 w 2015386"/>
              <a:gd name="connsiteY4" fmla="*/ 1877066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777194" y="1877066"/>
                </a:moveTo>
                <a:lnTo>
                  <a:pt x="2014564" y="1163884"/>
                </a:lnTo>
                <a:cubicBezTo>
                  <a:pt x="1574660" y="468467"/>
                  <a:pt x="821346" y="33362"/>
                  <a:pt x="-823" y="-223"/>
                </a:cubicBezTo>
                <a:lnTo>
                  <a:pt x="-823" y="1428735"/>
                </a:lnTo>
                <a:cubicBezTo>
                  <a:pt x="311550" y="1457391"/>
                  <a:pt x="595786" y="1621163"/>
                  <a:pt x="777194" y="1877066"/>
                </a:cubicBezTo>
                <a:close/>
              </a:path>
            </a:pathLst>
          </a:custGeom>
          <a:solidFill>
            <a:schemeClr val="accent3"/>
          </a:solidFill>
          <a:ln w="32410" cap="flat">
            <a:noFill/>
            <a:prstDash val="solid"/>
            <a:miter/>
          </a:ln>
        </p:spPr>
        <p:txBody>
          <a:bodyPr rtlCol="0" anchor="ctr"/>
          <a:lstStyle/>
          <a:p>
            <a:endParaRPr lang="en-GB"/>
          </a:p>
        </p:txBody>
      </p:sp>
      <p:sp>
        <p:nvSpPr>
          <p:cNvPr id="15" name="Graphic 3">
            <a:extLst>
              <a:ext uri="{FF2B5EF4-FFF2-40B4-BE49-F238E27FC236}">
                <a16:creationId xmlns:a16="http://schemas.microsoft.com/office/drawing/2014/main" id="{677A3EDC-AE74-431E-9E11-3F23EA820598}"/>
              </a:ext>
            </a:extLst>
          </p:cNvPr>
          <p:cNvSpPr/>
          <p:nvPr/>
        </p:nvSpPr>
        <p:spPr>
          <a:xfrm>
            <a:off x="3989134" y="4668150"/>
            <a:ext cx="2015062" cy="1878586"/>
          </a:xfrm>
          <a:custGeom>
            <a:avLst/>
            <a:gdLst>
              <a:gd name="connsiteX0" fmla="*/ 1236223 w 2015062"/>
              <a:gd name="connsiteY0" fmla="*/ -223 h 1878586"/>
              <a:gd name="connsiteX1" fmla="*/ -823 w 2015062"/>
              <a:gd name="connsiteY1" fmla="*/ 712959 h 1878586"/>
              <a:gd name="connsiteX2" fmla="*/ 2014239 w 2015062"/>
              <a:gd name="connsiteY2" fmla="*/ 1878363 h 1878586"/>
              <a:gd name="connsiteX3" fmla="*/ 2014239 w 2015062"/>
              <a:gd name="connsiteY3" fmla="*/ 448434 h 1878586"/>
              <a:gd name="connsiteX4" fmla="*/ 1236223 w 2015062"/>
              <a:gd name="connsiteY4" fmla="*/ -223 h 1878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062" h="1878586">
                <a:moveTo>
                  <a:pt x="1236223" y="-223"/>
                </a:moveTo>
                <a:lnTo>
                  <a:pt x="-823" y="712959"/>
                </a:lnTo>
                <a:cubicBezTo>
                  <a:pt x="438820" y="1408668"/>
                  <a:pt x="1191973" y="1844260"/>
                  <a:pt x="2014239" y="1878363"/>
                </a:cubicBezTo>
                <a:lnTo>
                  <a:pt x="2014239" y="448434"/>
                </a:lnTo>
                <a:cubicBezTo>
                  <a:pt x="1701832" y="419615"/>
                  <a:pt x="1417630" y="255713"/>
                  <a:pt x="1236223" y="-223"/>
                </a:cubicBezTo>
                <a:close/>
              </a:path>
            </a:pathLst>
          </a:custGeom>
          <a:solidFill>
            <a:schemeClr val="accent4"/>
          </a:solidFill>
          <a:ln w="32410" cap="flat">
            <a:noFill/>
            <a:prstDash val="solid"/>
            <a:miter/>
          </a:ln>
        </p:spPr>
        <p:txBody>
          <a:bodyPr rtlCol="0" anchor="ctr"/>
          <a:lstStyle/>
          <a:p>
            <a:endParaRPr lang="en-GB"/>
          </a:p>
        </p:txBody>
      </p:sp>
      <p:sp>
        <p:nvSpPr>
          <p:cNvPr id="16" name="Graphic 3">
            <a:extLst>
              <a:ext uri="{FF2B5EF4-FFF2-40B4-BE49-F238E27FC236}">
                <a16:creationId xmlns:a16="http://schemas.microsoft.com/office/drawing/2014/main" id="{677A3EDC-AE74-431E-9E11-3F23EA820598}"/>
              </a:ext>
            </a:extLst>
          </p:cNvPr>
          <p:cNvSpPr/>
          <p:nvPr/>
        </p:nvSpPr>
        <p:spPr>
          <a:xfrm>
            <a:off x="7073969" y="2887465"/>
            <a:ext cx="1524750" cy="2325620"/>
          </a:xfrm>
          <a:custGeom>
            <a:avLst/>
            <a:gdLst>
              <a:gd name="connsiteX0" fmla="*/ -823 w 1524750"/>
              <a:gd name="connsiteY0" fmla="*/ 715553 h 2325620"/>
              <a:gd name="connsiteX1" fmla="*/ -823 w 1524750"/>
              <a:gd name="connsiteY1" fmla="*/ 1612216 h 2325620"/>
              <a:gd name="connsiteX2" fmla="*/ 1236547 w 1524750"/>
              <a:gd name="connsiteY2" fmla="*/ 2325398 h 2325620"/>
              <a:gd name="connsiteX3" fmla="*/ 1236547 w 1524750"/>
              <a:gd name="connsiteY3" fmla="*/ -223 h 2325620"/>
              <a:gd name="connsiteX4" fmla="*/ 800858 w 1524750"/>
              <a:gd name="connsiteY4" fmla="*/ 251336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823" y="715553"/>
                </a:moveTo>
                <a:cubicBezTo>
                  <a:pt x="130467" y="1000015"/>
                  <a:pt x="130467" y="1327754"/>
                  <a:pt x="-823" y="1612216"/>
                </a:cubicBezTo>
                <a:lnTo>
                  <a:pt x="1236547" y="2325398"/>
                </a:lnTo>
                <a:cubicBezTo>
                  <a:pt x="1619720" y="1597532"/>
                  <a:pt x="1619720" y="727644"/>
                  <a:pt x="1236547" y="-223"/>
                </a:cubicBezTo>
                <a:lnTo>
                  <a:pt x="800858" y="251336"/>
                </a:lnTo>
                <a:close/>
              </a:path>
            </a:pathLst>
          </a:custGeom>
          <a:solidFill>
            <a:schemeClr val="accent1"/>
          </a:solidFill>
          <a:ln w="32410" cap="flat">
            <a:noFill/>
            <a:prstDash val="solid"/>
            <a:miter/>
          </a:ln>
        </p:spPr>
        <p:txBody>
          <a:bodyPr rtlCol="0" anchor="ctr"/>
          <a:lstStyle/>
          <a:p>
            <a:endParaRPr lang="en-GB"/>
          </a:p>
        </p:txBody>
      </p:sp>
      <p:sp>
        <p:nvSpPr>
          <p:cNvPr id="17" name="Graphic 3">
            <a:extLst>
              <a:ext uri="{FF2B5EF4-FFF2-40B4-BE49-F238E27FC236}">
                <a16:creationId xmlns:a16="http://schemas.microsoft.com/office/drawing/2014/main" id="{677A3EDC-AE74-431E-9E11-3F23EA820598}"/>
              </a:ext>
            </a:extLst>
          </p:cNvPr>
          <p:cNvSpPr/>
          <p:nvPr/>
        </p:nvSpPr>
        <p:spPr>
          <a:xfrm>
            <a:off x="6197080" y="4669447"/>
            <a:ext cx="2015386" cy="1877289"/>
          </a:xfrm>
          <a:custGeom>
            <a:avLst/>
            <a:gdLst>
              <a:gd name="connsiteX0" fmla="*/ 2014564 w 2015386"/>
              <a:gd name="connsiteY0" fmla="*/ 712959 h 1877289"/>
              <a:gd name="connsiteX1" fmla="*/ 777194 w 2015386"/>
              <a:gd name="connsiteY1" fmla="*/ -223 h 1877289"/>
              <a:gd name="connsiteX2" fmla="*/ -823 w 2015386"/>
              <a:gd name="connsiteY2" fmla="*/ 448433 h 1877289"/>
              <a:gd name="connsiteX3" fmla="*/ -823 w 2015386"/>
              <a:gd name="connsiteY3" fmla="*/ 1877066 h 1877289"/>
              <a:gd name="connsiteX4" fmla="*/ 2014564 w 2015386"/>
              <a:gd name="connsiteY4" fmla="*/ 712959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2014564" y="712959"/>
                </a:moveTo>
                <a:lnTo>
                  <a:pt x="777194" y="-223"/>
                </a:lnTo>
                <a:cubicBezTo>
                  <a:pt x="595883" y="255842"/>
                  <a:pt x="311616" y="419776"/>
                  <a:pt x="-823" y="448433"/>
                </a:cubicBezTo>
                <a:lnTo>
                  <a:pt x="-823" y="1877066"/>
                </a:lnTo>
                <a:cubicBezTo>
                  <a:pt x="821312" y="1843352"/>
                  <a:pt x="1574563" y="1408279"/>
                  <a:pt x="2014564" y="712959"/>
                </a:cubicBezTo>
                <a:close/>
              </a:path>
            </a:pathLst>
          </a:custGeom>
          <a:solidFill>
            <a:schemeClr val="accent2"/>
          </a:solidFill>
          <a:ln w="32410" cap="flat">
            <a:noFill/>
            <a:prstDash val="solid"/>
            <a:miter/>
          </a:ln>
        </p:spPr>
        <p:txBody>
          <a:bodyPr rtlCol="0" anchor="ctr"/>
          <a:lstStyle/>
          <a:p>
            <a:endParaRPr lang="en-GB"/>
          </a:p>
        </p:txBody>
      </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4" name="Tijdelijke aanduiding voor tekst 11">
            <a:extLst>
              <a:ext uri="{FF2B5EF4-FFF2-40B4-BE49-F238E27FC236}">
                <a16:creationId xmlns:a16="http://schemas.microsoft.com/office/drawing/2014/main" id="{1EDD9556-EE01-4EF9-97AE-8385061BE2CF}"/>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27B899CC-F789-4B53-AC07-F992D39E1970}"/>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61CB57-2B67-460B-8583-FC481646736B}"/>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402085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34">
                                            <p:txEl>
                                              <p:pRg st="0" end="0"/>
                                            </p:txEl>
                                          </p:spTgt>
                                        </p:tgtEl>
                                        <p:attrNameLst>
                                          <p:attrName>style.visibility</p:attrName>
                                        </p:attrNameLst>
                                      </p:cBhvr>
                                      <p:to>
                                        <p:strVal val="visible"/>
                                      </p:to>
                                    </p:set>
                                    <p:anim calcmode="lin" valueType="num">
                                      <p:cBhvr>
                                        <p:cTn id="25" dur="500" fill="hold"/>
                                        <p:tgtEl>
                                          <p:spTgt spid="3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3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34" grpId="0" build="p">
        <p:tmplLst>
          <p:tmpl lvl="1">
            <p:tnLst>
              <p:par>
                <p:cTn presetID="53" presetClass="entr" presetSubtype="16"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p:cTn dur="500" fill="hold"/>
                        <p:tgtEl>
                          <p:spTgt spid="34"/>
                        </p:tgtEl>
                        <p:attrNameLst>
                          <p:attrName>ppt_w</p:attrName>
                        </p:attrNameLst>
                      </p:cBhvr>
                      <p:tavLst>
                        <p:tav tm="0">
                          <p:val>
                            <p:fltVal val="0"/>
                          </p:val>
                        </p:tav>
                        <p:tav tm="100000">
                          <p:val>
                            <p:strVal val="#ppt_w"/>
                          </p:val>
                        </p:tav>
                      </p:tavLst>
                    </p:anim>
                    <p:anim calcmode="lin" valueType="num">
                      <p:cBhvr>
                        <p:cTn dur="500" fill="hold"/>
                        <p:tgtEl>
                          <p:spTgt spid="34"/>
                        </p:tgtEl>
                        <p:attrNameLst>
                          <p:attrName>ppt_h</p:attrName>
                        </p:attrNameLst>
                      </p:cBhvr>
                      <p:tavLst>
                        <p:tav tm="0">
                          <p:val>
                            <p:fltVal val="0"/>
                          </p:val>
                        </p:tav>
                        <p:tav tm="100000">
                          <p:val>
                            <p:strVal val="#ppt_h"/>
                          </p:val>
                        </p:tav>
                      </p:tavLst>
                    </p:anim>
                    <p:animEffect transition="in" filter="fade">
                      <p:cBhvr>
                        <p:cTn dur="500"/>
                        <p:tgtEl>
                          <p:spTgt spid="3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agram - 6 opti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grpSp>
        <p:nvGrpSpPr>
          <p:cNvPr id="41" name="Groep 40">
            <a:extLst>
              <a:ext uri="{FF2B5EF4-FFF2-40B4-BE49-F238E27FC236}">
                <a16:creationId xmlns:a16="http://schemas.microsoft.com/office/drawing/2014/main" id="{0A37B0AA-6828-4A85-A34A-1CDAEF133D09}"/>
              </a:ext>
            </a:extLst>
          </p:cNvPr>
          <p:cNvGrpSpPr/>
          <p:nvPr/>
        </p:nvGrpSpPr>
        <p:grpSpPr>
          <a:xfrm>
            <a:off x="3379559" y="1391096"/>
            <a:ext cx="5420896" cy="5287970"/>
            <a:chOff x="3379559" y="1391096"/>
            <a:chExt cx="5420896" cy="5287970"/>
          </a:xfrm>
          <a:gradFill>
            <a:gsLst>
              <a:gs pos="0">
                <a:schemeClr val="accent1"/>
              </a:gs>
              <a:gs pos="100000">
                <a:schemeClr val="accent2"/>
              </a:gs>
            </a:gsLst>
            <a:lin ang="16200000" scaled="0"/>
          </a:gradFill>
        </p:grpSpPr>
        <p:sp>
          <p:nvSpPr>
            <p:cNvPr id="5" name="Graphic 3">
              <a:extLst>
                <a:ext uri="{FF2B5EF4-FFF2-40B4-BE49-F238E27FC236}">
                  <a16:creationId xmlns:a16="http://schemas.microsoft.com/office/drawing/2014/main" id="{037837D3-888D-4305-AF2D-309CAC832B1A}"/>
                </a:ext>
              </a:extLst>
            </p:cNvPr>
            <p:cNvSpPr/>
            <p:nvPr/>
          </p:nvSpPr>
          <p:spPr>
            <a:xfrm rot="1483458">
              <a:off x="4251229" y="1391096"/>
              <a:ext cx="1817966" cy="2020312"/>
            </a:xfrm>
            <a:custGeom>
              <a:avLst/>
              <a:gdLst>
                <a:gd name="connsiteX0" fmla="*/ 1813421 w 1817966"/>
                <a:gd name="connsiteY0" fmla="*/ 1176110 h 2020312"/>
                <a:gd name="connsiteX1" fmla="*/ 1477616 w 1817966"/>
                <a:gd name="connsiteY1" fmla="*/ 1536180 h 2020312"/>
                <a:gd name="connsiteX2" fmla="*/ 1328519 w 1817966"/>
                <a:gd name="connsiteY2" fmla="*/ 2018701 h 2020312"/>
                <a:gd name="connsiteX3" fmla="*/ 686567 w 1817966"/>
                <a:gd name="connsiteY3" fmla="*/ 1788045 h 2020312"/>
                <a:gd name="connsiteX4" fmla="*/ -4321 w 1817966"/>
                <a:gd name="connsiteY4" fmla="*/ 2018701 h 2020312"/>
                <a:gd name="connsiteX5" fmla="*/ 1139608 w 1817966"/>
                <a:gd name="connsiteY5" fmla="*/ -1612 h 2020312"/>
                <a:gd name="connsiteX6" fmla="*/ 1813645 w 1817966"/>
                <a:gd name="connsiteY6" fmla="*/ 433232 h 202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966" h="2020312">
                  <a:moveTo>
                    <a:pt x="1813421" y="1176110"/>
                  </a:moveTo>
                  <a:cubicBezTo>
                    <a:pt x="1676231" y="1269801"/>
                    <a:pt x="1561511" y="1392790"/>
                    <a:pt x="1477616" y="1536180"/>
                  </a:cubicBezTo>
                  <a:cubicBezTo>
                    <a:pt x="1391429" y="1683390"/>
                    <a:pt x="1340426" y="1848529"/>
                    <a:pt x="1328519" y="2018701"/>
                  </a:cubicBezTo>
                  <a:lnTo>
                    <a:pt x="686567" y="1788045"/>
                  </a:lnTo>
                  <a:lnTo>
                    <a:pt x="-4321" y="2018701"/>
                  </a:lnTo>
                  <a:cubicBezTo>
                    <a:pt x="20394" y="1197814"/>
                    <a:pt x="448407" y="441904"/>
                    <a:pt x="1139608" y="-1612"/>
                  </a:cubicBezTo>
                  <a:lnTo>
                    <a:pt x="1813645" y="433232"/>
                  </a:lnTo>
                  <a:close/>
                </a:path>
              </a:pathLst>
            </a:custGeom>
            <a:grpFill/>
            <a:ln w="4486" cap="flat">
              <a:noFill/>
              <a:prstDash val="solid"/>
              <a:miter/>
            </a:ln>
          </p:spPr>
          <p:txBody>
            <a:bodyPr rtlCol="0" anchor="ctr"/>
            <a:lstStyle/>
            <a:p>
              <a:endParaRPr lang="en-GB"/>
            </a:p>
          </p:txBody>
        </p:sp>
        <p:sp>
          <p:nvSpPr>
            <p:cNvPr id="6" name="Graphic 3">
              <a:extLst>
                <a:ext uri="{FF2B5EF4-FFF2-40B4-BE49-F238E27FC236}">
                  <a16:creationId xmlns:a16="http://schemas.microsoft.com/office/drawing/2014/main" id="{037837D3-888D-4305-AF2D-309CAC832B1A}"/>
                </a:ext>
              </a:extLst>
            </p:cNvPr>
            <p:cNvSpPr/>
            <p:nvPr/>
          </p:nvSpPr>
          <p:spPr>
            <a:xfrm rot="1483458">
              <a:off x="5669569" y="1709799"/>
              <a:ext cx="2302779" cy="1475129"/>
            </a:xfrm>
            <a:custGeom>
              <a:avLst/>
              <a:gdLst>
                <a:gd name="connsiteX0" fmla="*/ 2298458 w 2302779"/>
                <a:gd name="connsiteY0" fmla="*/ 289326 h 1475129"/>
                <a:gd name="connsiteX1" fmla="*/ 2251679 w 2302779"/>
                <a:gd name="connsiteY1" fmla="*/ 1043078 h 1475129"/>
                <a:gd name="connsiteX2" fmla="*/ 1631971 w 2302779"/>
                <a:gd name="connsiteY2" fmla="*/ 1467722 h 1475129"/>
                <a:gd name="connsiteX3" fmla="*/ 1404462 w 2302779"/>
                <a:gd name="connsiteY3" fmla="*/ 1389443 h 1475129"/>
                <a:gd name="connsiteX4" fmla="*/ 903965 w 2302779"/>
                <a:gd name="connsiteY4" fmla="*/ 1390926 h 1475129"/>
                <a:gd name="connsiteX5" fmla="*/ 670299 w 2302779"/>
                <a:gd name="connsiteY5" fmla="*/ 1473518 h 1475129"/>
                <a:gd name="connsiteX6" fmla="*/ 694250 w 2302779"/>
                <a:gd name="connsiteY6" fmla="*/ 736032 h 1475129"/>
                <a:gd name="connsiteX7" fmla="*/ -4321 w 2302779"/>
                <a:gd name="connsiteY7" fmla="*/ 294583 h 1475129"/>
                <a:gd name="connsiteX8" fmla="*/ 2298278 w 2302779"/>
                <a:gd name="connsiteY8" fmla="*/ 289326 h 147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02779" h="1475129">
                  <a:moveTo>
                    <a:pt x="2298458" y="289326"/>
                  </a:moveTo>
                  <a:lnTo>
                    <a:pt x="2251679" y="1043078"/>
                  </a:lnTo>
                  <a:lnTo>
                    <a:pt x="1631971" y="1467722"/>
                  </a:lnTo>
                  <a:cubicBezTo>
                    <a:pt x="1559220" y="1433436"/>
                    <a:pt x="1482920" y="1407193"/>
                    <a:pt x="1404462" y="1389443"/>
                  </a:cubicBezTo>
                  <a:cubicBezTo>
                    <a:pt x="1239637" y="1352326"/>
                    <a:pt x="1068567" y="1352865"/>
                    <a:pt x="903965" y="1390926"/>
                  </a:cubicBezTo>
                  <a:cubicBezTo>
                    <a:pt x="823217" y="1409574"/>
                    <a:pt x="744849" y="1437300"/>
                    <a:pt x="670299" y="1473518"/>
                  </a:cubicBezTo>
                  <a:lnTo>
                    <a:pt x="694250" y="736032"/>
                  </a:lnTo>
                  <a:lnTo>
                    <a:pt x="-4321" y="294583"/>
                  </a:lnTo>
                  <a:cubicBezTo>
                    <a:pt x="712405" y="-98470"/>
                    <a:pt x="1579755" y="-100447"/>
                    <a:pt x="2298278" y="289326"/>
                  </a:cubicBezTo>
                  <a:close/>
                </a:path>
              </a:pathLst>
            </a:custGeom>
            <a:grpFill/>
            <a:ln w="4486" cap="flat">
              <a:noFill/>
              <a:prstDash val="solid"/>
              <a:miter/>
            </a:ln>
          </p:spPr>
          <p:txBody>
            <a:bodyPr rtlCol="0" anchor="ctr"/>
            <a:lstStyle/>
            <a:p>
              <a:endParaRPr lang="en-GB"/>
            </a:p>
          </p:txBody>
        </p:sp>
        <p:sp>
          <p:nvSpPr>
            <p:cNvPr id="7" name="Graphic 3">
              <a:extLst>
                <a:ext uri="{FF2B5EF4-FFF2-40B4-BE49-F238E27FC236}">
                  <a16:creationId xmlns:a16="http://schemas.microsoft.com/office/drawing/2014/main" id="{037837D3-888D-4305-AF2D-309CAC832B1A}"/>
                </a:ext>
              </a:extLst>
            </p:cNvPr>
            <p:cNvSpPr/>
            <p:nvPr/>
          </p:nvSpPr>
          <p:spPr>
            <a:xfrm rot="1483458">
              <a:off x="6981052" y="2655178"/>
              <a:ext cx="1819403" cy="2291724"/>
            </a:xfrm>
            <a:custGeom>
              <a:avLst/>
              <a:gdLst>
                <a:gd name="connsiteX0" fmla="*/ 1815082 w 1819403"/>
                <a:gd name="connsiteY0" fmla="*/ 2024992 h 2291724"/>
                <a:gd name="connsiteX1" fmla="*/ 1144146 w 1819403"/>
                <a:gd name="connsiteY1" fmla="*/ 2290113 h 2291724"/>
                <a:gd name="connsiteX2" fmla="*/ 492577 w 1819403"/>
                <a:gd name="connsiteY2" fmla="*/ 2025262 h 2291724"/>
                <a:gd name="connsiteX3" fmla="*/ 339795 w 1819403"/>
                <a:gd name="connsiteY3" fmla="*/ 1536405 h 2291724"/>
                <a:gd name="connsiteX4" fmla="*/ -4321 w 1819403"/>
                <a:gd name="connsiteY4" fmla="*/ 1174447 h 2291724"/>
                <a:gd name="connsiteX5" fmla="*/ 575081 w 1819403"/>
                <a:gd name="connsiteY5" fmla="*/ 813568 h 2291724"/>
                <a:gd name="connsiteX6" fmla="*/ 660862 w 1819403"/>
                <a:gd name="connsiteY6" fmla="*/ -1612 h 2291724"/>
                <a:gd name="connsiteX7" fmla="*/ 1815082 w 1819403"/>
                <a:gd name="connsiteY7" fmla="*/ 2024992 h 22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403" h="2291724">
                  <a:moveTo>
                    <a:pt x="1815082" y="2024992"/>
                  </a:moveTo>
                  <a:lnTo>
                    <a:pt x="1144146" y="2290113"/>
                  </a:lnTo>
                  <a:lnTo>
                    <a:pt x="492577" y="2025262"/>
                  </a:lnTo>
                  <a:cubicBezTo>
                    <a:pt x="480489" y="1852618"/>
                    <a:pt x="428186" y="1685187"/>
                    <a:pt x="339795" y="1536405"/>
                  </a:cubicBezTo>
                  <a:cubicBezTo>
                    <a:pt x="253744" y="1391442"/>
                    <a:pt x="136103" y="1267734"/>
                    <a:pt x="-4321" y="1174447"/>
                  </a:cubicBezTo>
                  <a:lnTo>
                    <a:pt x="575081" y="813568"/>
                  </a:lnTo>
                  <a:lnTo>
                    <a:pt x="660862" y="-1612"/>
                  </a:lnTo>
                  <a:cubicBezTo>
                    <a:pt x="1357997" y="440601"/>
                    <a:pt x="1790368" y="1199791"/>
                    <a:pt x="1815082" y="2024992"/>
                  </a:cubicBezTo>
                  <a:close/>
                </a:path>
              </a:pathLst>
            </a:custGeom>
            <a:grpFill/>
            <a:ln w="4486"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037837D3-888D-4305-AF2D-309CAC832B1A}"/>
                </a:ext>
              </a:extLst>
            </p:cNvPr>
            <p:cNvSpPr/>
            <p:nvPr/>
          </p:nvSpPr>
          <p:spPr>
            <a:xfrm rot="1483458">
              <a:off x="6124564" y="4658708"/>
              <a:ext cx="1815989" cy="2020358"/>
            </a:xfrm>
            <a:custGeom>
              <a:avLst/>
              <a:gdLst>
                <a:gd name="connsiteX0" fmla="*/ 1811668 w 1815989"/>
                <a:gd name="connsiteY0" fmla="*/ -1567 h 2020358"/>
                <a:gd name="connsiteX1" fmla="*/ 667379 w 1815989"/>
                <a:gd name="connsiteY1" fmla="*/ 2018746 h 2020358"/>
                <a:gd name="connsiteX2" fmla="*/ 96425 w 1815989"/>
                <a:gd name="connsiteY2" fmla="*/ 1541574 h 2020358"/>
                <a:gd name="connsiteX3" fmla="*/ -4321 w 1815989"/>
                <a:gd name="connsiteY3" fmla="*/ 844799 h 2020358"/>
                <a:gd name="connsiteX4" fmla="*/ 336877 w 1815989"/>
                <a:gd name="connsiteY4" fmla="*/ 484144 h 2020358"/>
                <a:gd name="connsiteX5" fmla="*/ 488805 w 1815989"/>
                <a:gd name="connsiteY5" fmla="*/ -1612 h 2020358"/>
                <a:gd name="connsiteX6" fmla="*/ 1127297 w 1815989"/>
                <a:gd name="connsiteY6" fmla="*/ 251647 h 202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989" h="2020358">
                  <a:moveTo>
                    <a:pt x="1811668" y="-1567"/>
                  </a:moveTo>
                  <a:cubicBezTo>
                    <a:pt x="1786864" y="819411"/>
                    <a:pt x="1358716" y="1575320"/>
                    <a:pt x="667379" y="2018746"/>
                  </a:cubicBezTo>
                  <a:lnTo>
                    <a:pt x="96425" y="1541574"/>
                  </a:lnTo>
                  <a:lnTo>
                    <a:pt x="-4321" y="844799"/>
                  </a:lnTo>
                  <a:cubicBezTo>
                    <a:pt x="134890" y="751557"/>
                    <a:pt x="251499" y="628299"/>
                    <a:pt x="336877" y="484144"/>
                  </a:cubicBezTo>
                  <a:cubicBezTo>
                    <a:pt x="424502" y="336171"/>
                    <a:pt x="476492" y="169909"/>
                    <a:pt x="488805" y="-1612"/>
                  </a:cubicBezTo>
                  <a:lnTo>
                    <a:pt x="1127297" y="251647"/>
                  </a:lnTo>
                  <a:close/>
                </a:path>
              </a:pathLst>
            </a:custGeom>
            <a:grpFill/>
            <a:ln w="4486"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037837D3-888D-4305-AF2D-309CAC832B1A}"/>
                </a:ext>
              </a:extLst>
            </p:cNvPr>
            <p:cNvSpPr/>
            <p:nvPr/>
          </p:nvSpPr>
          <p:spPr>
            <a:xfrm rot="1483458">
              <a:off x="3379559" y="3176138"/>
              <a:ext cx="1823763" cy="2237128"/>
            </a:xfrm>
            <a:custGeom>
              <a:avLst/>
              <a:gdLst>
                <a:gd name="connsiteX0" fmla="*/ 1819442 w 1823763"/>
                <a:gd name="connsiteY0" fmla="*/ 1052807 h 2237128"/>
                <a:gd name="connsiteX1" fmla="*/ 1292210 w 1823763"/>
                <a:gd name="connsiteY1" fmla="*/ 1488684 h 2237128"/>
                <a:gd name="connsiteX2" fmla="*/ 1149899 w 1823763"/>
                <a:gd name="connsiteY2" fmla="*/ 2235517 h 2237128"/>
                <a:gd name="connsiteX3" fmla="*/ -4321 w 1823763"/>
                <a:gd name="connsiteY3" fmla="*/ 208553 h 2237128"/>
                <a:gd name="connsiteX4" fmla="*/ 657492 w 1823763"/>
                <a:gd name="connsiteY4" fmla="*/ -1612 h 2237128"/>
                <a:gd name="connsiteX5" fmla="*/ 1328922 w 1823763"/>
                <a:gd name="connsiteY5" fmla="*/ 208553 h 2237128"/>
                <a:gd name="connsiteX6" fmla="*/ 1480043 w 1823763"/>
                <a:gd name="connsiteY6" fmla="*/ 692781 h 2237128"/>
                <a:gd name="connsiteX7" fmla="*/ 1819442 w 1823763"/>
                <a:gd name="connsiteY7" fmla="*/ 1052807 h 223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3763" h="2237128">
                  <a:moveTo>
                    <a:pt x="1819442" y="1052807"/>
                  </a:moveTo>
                  <a:lnTo>
                    <a:pt x="1292210" y="1488684"/>
                  </a:lnTo>
                  <a:lnTo>
                    <a:pt x="1149899" y="2235517"/>
                  </a:lnTo>
                  <a:cubicBezTo>
                    <a:pt x="452900" y="1792989"/>
                    <a:pt x="20617" y="1033754"/>
                    <a:pt x="-4321" y="208553"/>
                  </a:cubicBezTo>
                  <a:lnTo>
                    <a:pt x="657492" y="-1612"/>
                  </a:lnTo>
                  <a:lnTo>
                    <a:pt x="1328922" y="208553"/>
                  </a:lnTo>
                  <a:cubicBezTo>
                    <a:pt x="1341236" y="379444"/>
                    <a:pt x="1392956" y="545213"/>
                    <a:pt x="1480043" y="692781"/>
                  </a:cubicBezTo>
                  <a:cubicBezTo>
                    <a:pt x="1564971" y="836575"/>
                    <a:pt x="1680905" y="959565"/>
                    <a:pt x="1819442" y="1052807"/>
                  </a:cubicBezTo>
                  <a:close/>
                </a:path>
              </a:pathLst>
            </a:custGeom>
            <a:grpFill/>
            <a:ln w="4486" cap="flat">
              <a:noFill/>
              <a:prstDash val="solid"/>
              <a:miter/>
            </a:ln>
          </p:spPr>
          <p:txBody>
            <a:bodyPr rtlCol="0" anchor="ctr"/>
            <a:lstStyle/>
            <a:p>
              <a:endParaRPr lang="en-GB"/>
            </a:p>
          </p:txBody>
        </p:sp>
        <p:sp>
          <p:nvSpPr>
            <p:cNvPr id="10" name="Graphic 3">
              <a:extLst>
                <a:ext uri="{FF2B5EF4-FFF2-40B4-BE49-F238E27FC236}">
                  <a16:creationId xmlns:a16="http://schemas.microsoft.com/office/drawing/2014/main" id="{037837D3-888D-4305-AF2D-309CAC832B1A}"/>
                </a:ext>
              </a:extLst>
            </p:cNvPr>
            <p:cNvSpPr/>
            <p:nvPr/>
          </p:nvSpPr>
          <p:spPr>
            <a:xfrm rot="1483458">
              <a:off x="4219616" y="4885164"/>
              <a:ext cx="2302239" cy="1474744"/>
            </a:xfrm>
            <a:custGeom>
              <a:avLst/>
              <a:gdLst>
                <a:gd name="connsiteX0" fmla="*/ 2297918 w 2302239"/>
                <a:gd name="connsiteY0" fmla="*/ 1176919 h 1474744"/>
                <a:gd name="connsiteX1" fmla="*/ -4321 w 2302239"/>
                <a:gd name="connsiteY1" fmla="*/ 1182716 h 1474744"/>
                <a:gd name="connsiteX2" fmla="*/ 135697 w 2302239"/>
                <a:gd name="connsiteY2" fmla="*/ 459250 h 1474744"/>
                <a:gd name="connsiteX3" fmla="*/ 665940 w 2302239"/>
                <a:gd name="connsiteY3" fmla="*/ -1612 h 1474744"/>
                <a:gd name="connsiteX4" fmla="*/ 1395652 w 2302239"/>
                <a:gd name="connsiteY4" fmla="*/ 79273 h 1474744"/>
                <a:gd name="connsiteX5" fmla="*/ 1624601 w 2302239"/>
                <a:gd name="connsiteY5" fmla="*/ 6 h 1474744"/>
                <a:gd name="connsiteX6" fmla="*/ 1695869 w 2302239"/>
                <a:gd name="connsiteY6" fmla="*/ 682490 h 147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2239" h="1474744">
                  <a:moveTo>
                    <a:pt x="2297918" y="1176919"/>
                  </a:moveTo>
                  <a:cubicBezTo>
                    <a:pt x="1581326" y="1569793"/>
                    <a:pt x="714246" y="1571995"/>
                    <a:pt x="-4321" y="1182716"/>
                  </a:cubicBezTo>
                  <a:lnTo>
                    <a:pt x="135697" y="459250"/>
                  </a:lnTo>
                  <a:lnTo>
                    <a:pt x="665940" y="-1612"/>
                  </a:lnTo>
                  <a:cubicBezTo>
                    <a:pt x="893271" y="106324"/>
                    <a:pt x="1150213" y="134814"/>
                    <a:pt x="1395652" y="79273"/>
                  </a:cubicBezTo>
                  <a:cubicBezTo>
                    <a:pt x="1474650" y="61298"/>
                    <a:pt x="1551401" y="34742"/>
                    <a:pt x="1624601" y="6"/>
                  </a:cubicBezTo>
                  <a:lnTo>
                    <a:pt x="1695869" y="682490"/>
                  </a:lnTo>
                  <a:close/>
                </a:path>
              </a:pathLst>
            </a:custGeom>
            <a:grpFill/>
            <a:ln w="4486" cap="flat">
              <a:noFill/>
              <a:prstDash val="solid"/>
              <a:miter/>
            </a:ln>
          </p:spPr>
          <p:txBody>
            <a:bodyPr rtlCol="0" anchor="ctr"/>
            <a:lstStyle/>
            <a:p>
              <a:endParaRPr lang="en-GB"/>
            </a:p>
          </p:txBody>
        </p:sp>
      </p:gr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44" name="Tijdelijke aanduiding voor tekst 11">
            <a:extLst>
              <a:ext uri="{FF2B5EF4-FFF2-40B4-BE49-F238E27FC236}">
                <a16:creationId xmlns:a16="http://schemas.microsoft.com/office/drawing/2014/main" id="{57FB1A36-5430-45DC-AD88-3BD8847AB12B}"/>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0C7EA4DD-F03C-43E6-AD43-DE68E53E4EFF}"/>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8482F9D7-4D91-4F9E-B438-FFF0D2AE7E42}"/>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188737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44">
                                            <p:txEl>
                                              <p:pRg st="0" end="0"/>
                                            </p:txEl>
                                          </p:spTgt>
                                        </p:tgtEl>
                                        <p:attrNameLst>
                                          <p:attrName>style.visibility</p:attrName>
                                        </p:attrNameLst>
                                      </p:cBhvr>
                                      <p:to>
                                        <p:strVal val="visible"/>
                                      </p:to>
                                    </p:set>
                                    <p:anim calcmode="lin" valueType="num">
                                      <p:cBhvr>
                                        <p:cTn id="25"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agram - 6 options - 2">
    <p:spTree>
      <p:nvGrpSpPr>
        <p:cNvPr id="1" name=""/>
        <p:cNvGrpSpPr/>
        <p:nvPr/>
      </p:nvGrpSpPr>
      <p:grpSpPr>
        <a:xfrm>
          <a:off x="0" y="0"/>
          <a:ext cx="0" cy="0"/>
          <a:chOff x="0" y="0"/>
          <a:chExt cx="0" cy="0"/>
        </a:xfrm>
      </p:grpSpPr>
      <p:grpSp>
        <p:nvGrpSpPr>
          <p:cNvPr id="18" name="Groep 17">
            <a:extLst>
              <a:ext uri="{FF2B5EF4-FFF2-40B4-BE49-F238E27FC236}">
                <a16:creationId xmlns:a16="http://schemas.microsoft.com/office/drawing/2014/main" id="{3D09DD10-DF93-4B73-9390-3ABEB1A6BD55}"/>
              </a:ext>
            </a:extLst>
          </p:cNvPr>
          <p:cNvGrpSpPr/>
          <p:nvPr/>
        </p:nvGrpSpPr>
        <p:grpSpPr>
          <a:xfrm>
            <a:off x="3604177" y="1557380"/>
            <a:ext cx="4994542" cy="4989356"/>
            <a:chOff x="3604177" y="1557380"/>
            <a:chExt cx="4994542" cy="4989356"/>
          </a:xfrm>
          <a:gradFill>
            <a:gsLst>
              <a:gs pos="0">
                <a:schemeClr val="accent1"/>
              </a:gs>
              <a:gs pos="100000">
                <a:schemeClr val="accent2"/>
              </a:gs>
            </a:gsLst>
            <a:lin ang="16200000" scaled="0"/>
          </a:gradFill>
        </p:grpSpPr>
        <p:sp>
          <p:nvSpPr>
            <p:cNvPr id="12" name="Graphic 3">
              <a:extLst>
                <a:ext uri="{FF2B5EF4-FFF2-40B4-BE49-F238E27FC236}">
                  <a16:creationId xmlns:a16="http://schemas.microsoft.com/office/drawing/2014/main" id="{677A3EDC-AE74-431E-9E11-3F23EA820598}"/>
                </a:ext>
              </a:extLst>
            </p:cNvPr>
            <p:cNvSpPr/>
            <p:nvPr/>
          </p:nvSpPr>
          <p:spPr>
            <a:xfrm>
              <a:off x="3990430" y="1557380"/>
              <a:ext cx="2013766" cy="1878261"/>
            </a:xfrm>
            <a:custGeom>
              <a:avLst/>
              <a:gdLst>
                <a:gd name="connsiteX0" fmla="*/ 2012943 w 2013766"/>
                <a:gd name="connsiteY0" fmla="*/ 1428735 h 1878261"/>
                <a:gd name="connsiteX1" fmla="*/ 2012943 w 2013766"/>
                <a:gd name="connsiteY1" fmla="*/ -223 h 1878261"/>
                <a:gd name="connsiteX2" fmla="*/ -823 w 2013766"/>
                <a:gd name="connsiteY2" fmla="*/ 1163884 h 1878261"/>
                <a:gd name="connsiteX3" fmla="*/ 523365 w 2013766"/>
                <a:gd name="connsiteY3" fmla="*/ 1466662 h 1878261"/>
                <a:gd name="connsiteX4" fmla="*/ 1236547 w 2013766"/>
                <a:gd name="connsiteY4" fmla="*/ 1878039 h 1878261"/>
                <a:gd name="connsiteX5" fmla="*/ 2012943 w 2013766"/>
                <a:gd name="connsiteY5" fmla="*/ 1428735 h 187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3766" h="1878261">
                  <a:moveTo>
                    <a:pt x="2012943" y="1428735"/>
                  </a:moveTo>
                  <a:lnTo>
                    <a:pt x="2012943" y="-223"/>
                  </a:lnTo>
                  <a:cubicBezTo>
                    <a:pt x="1191358" y="33913"/>
                    <a:pt x="438756" y="468954"/>
                    <a:pt x="-823" y="1163884"/>
                  </a:cubicBezTo>
                  <a:lnTo>
                    <a:pt x="523365" y="1466662"/>
                  </a:lnTo>
                  <a:lnTo>
                    <a:pt x="1236547" y="1878039"/>
                  </a:lnTo>
                  <a:cubicBezTo>
                    <a:pt x="1417405" y="1622201"/>
                    <a:pt x="1700991" y="1458072"/>
                    <a:pt x="2012943" y="1428735"/>
                  </a:cubicBezTo>
                  <a:close/>
                </a:path>
              </a:pathLst>
            </a:custGeom>
            <a:grpFill/>
            <a:ln w="32410" cap="flat">
              <a:noFill/>
              <a:prstDash val="solid"/>
              <a:miter/>
            </a:ln>
          </p:spPr>
          <p:txBody>
            <a:bodyPr rtlCol="0" anchor="ctr"/>
            <a:lstStyle/>
            <a:p>
              <a:endParaRPr lang="en-GB"/>
            </a:p>
          </p:txBody>
        </p:sp>
        <p:sp>
          <p:nvSpPr>
            <p:cNvPr id="13" name="Graphic 3">
              <a:extLst>
                <a:ext uri="{FF2B5EF4-FFF2-40B4-BE49-F238E27FC236}">
                  <a16:creationId xmlns:a16="http://schemas.microsoft.com/office/drawing/2014/main" id="{677A3EDC-AE74-431E-9E11-3F23EA820598}"/>
                </a:ext>
              </a:extLst>
            </p:cNvPr>
            <p:cNvSpPr/>
            <p:nvPr/>
          </p:nvSpPr>
          <p:spPr>
            <a:xfrm>
              <a:off x="3604177" y="2890058"/>
              <a:ext cx="1524750" cy="2325620"/>
            </a:xfrm>
            <a:custGeom>
              <a:avLst/>
              <a:gdLst>
                <a:gd name="connsiteX0" fmla="*/ 1523927 w 1524750"/>
                <a:gd name="connsiteY0" fmla="*/ 712959 h 2325620"/>
                <a:gd name="connsiteX1" fmla="*/ 286557 w 1524750"/>
                <a:gd name="connsiteY1" fmla="*/ -223 h 2325620"/>
                <a:gd name="connsiteX2" fmla="*/ 286557 w 1524750"/>
                <a:gd name="connsiteY2" fmla="*/ 2325398 h 2325620"/>
                <a:gd name="connsiteX3" fmla="*/ 1523927 w 1524750"/>
                <a:gd name="connsiteY3" fmla="*/ 1612216 h 2325620"/>
                <a:gd name="connsiteX4" fmla="*/ 1523927 w 1524750"/>
                <a:gd name="connsiteY4" fmla="*/ 715552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1523927" y="712959"/>
                  </a:moveTo>
                  <a:lnTo>
                    <a:pt x="286557" y="-223"/>
                  </a:lnTo>
                  <a:cubicBezTo>
                    <a:pt x="-96616" y="727644"/>
                    <a:pt x="-96616" y="1597531"/>
                    <a:pt x="286557" y="2325398"/>
                  </a:cubicBezTo>
                  <a:lnTo>
                    <a:pt x="1523927" y="1612216"/>
                  </a:lnTo>
                  <a:cubicBezTo>
                    <a:pt x="1392637" y="1327754"/>
                    <a:pt x="1392637" y="1000014"/>
                    <a:pt x="1523927" y="715552"/>
                  </a:cubicBezTo>
                  <a:close/>
                </a:path>
              </a:pathLst>
            </a:custGeom>
            <a:grpFill/>
            <a:ln w="32410" cap="flat">
              <a:noFill/>
              <a:prstDash val="solid"/>
              <a:miter/>
            </a:ln>
          </p:spPr>
          <p:txBody>
            <a:bodyPr rtlCol="0" anchor="ctr"/>
            <a:lstStyle/>
            <a:p>
              <a:endParaRPr lang="en-GB"/>
            </a:p>
          </p:txBody>
        </p:sp>
        <p:sp>
          <p:nvSpPr>
            <p:cNvPr id="14" name="Graphic 3">
              <a:extLst>
                <a:ext uri="{FF2B5EF4-FFF2-40B4-BE49-F238E27FC236}">
                  <a16:creationId xmlns:a16="http://schemas.microsoft.com/office/drawing/2014/main" id="{677A3EDC-AE74-431E-9E11-3F23EA820598}"/>
                </a:ext>
              </a:extLst>
            </p:cNvPr>
            <p:cNvSpPr/>
            <p:nvPr/>
          </p:nvSpPr>
          <p:spPr>
            <a:xfrm>
              <a:off x="6198700" y="1557380"/>
              <a:ext cx="2015386" cy="1877289"/>
            </a:xfrm>
            <a:custGeom>
              <a:avLst/>
              <a:gdLst>
                <a:gd name="connsiteX0" fmla="*/ 777194 w 2015386"/>
                <a:gd name="connsiteY0" fmla="*/ 1877066 h 1877289"/>
                <a:gd name="connsiteX1" fmla="*/ 2014564 w 2015386"/>
                <a:gd name="connsiteY1" fmla="*/ 1163884 h 1877289"/>
                <a:gd name="connsiteX2" fmla="*/ -823 w 2015386"/>
                <a:gd name="connsiteY2" fmla="*/ -223 h 1877289"/>
                <a:gd name="connsiteX3" fmla="*/ -823 w 2015386"/>
                <a:gd name="connsiteY3" fmla="*/ 1428735 h 1877289"/>
                <a:gd name="connsiteX4" fmla="*/ 777194 w 2015386"/>
                <a:gd name="connsiteY4" fmla="*/ 1877066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777194" y="1877066"/>
                  </a:moveTo>
                  <a:lnTo>
                    <a:pt x="2014564" y="1163884"/>
                  </a:lnTo>
                  <a:cubicBezTo>
                    <a:pt x="1574660" y="468467"/>
                    <a:pt x="821346" y="33362"/>
                    <a:pt x="-823" y="-223"/>
                  </a:cubicBezTo>
                  <a:lnTo>
                    <a:pt x="-823" y="1428735"/>
                  </a:lnTo>
                  <a:cubicBezTo>
                    <a:pt x="311550" y="1457391"/>
                    <a:pt x="595786" y="1621163"/>
                    <a:pt x="777194" y="1877066"/>
                  </a:cubicBezTo>
                  <a:close/>
                </a:path>
              </a:pathLst>
            </a:custGeom>
            <a:grpFill/>
            <a:ln w="32410" cap="flat">
              <a:noFill/>
              <a:prstDash val="solid"/>
              <a:miter/>
            </a:ln>
          </p:spPr>
          <p:txBody>
            <a:bodyPr rtlCol="0" anchor="ctr"/>
            <a:lstStyle/>
            <a:p>
              <a:endParaRPr lang="en-GB"/>
            </a:p>
          </p:txBody>
        </p:sp>
        <p:sp>
          <p:nvSpPr>
            <p:cNvPr id="15" name="Graphic 3">
              <a:extLst>
                <a:ext uri="{FF2B5EF4-FFF2-40B4-BE49-F238E27FC236}">
                  <a16:creationId xmlns:a16="http://schemas.microsoft.com/office/drawing/2014/main" id="{677A3EDC-AE74-431E-9E11-3F23EA820598}"/>
                </a:ext>
              </a:extLst>
            </p:cNvPr>
            <p:cNvSpPr/>
            <p:nvPr/>
          </p:nvSpPr>
          <p:spPr>
            <a:xfrm>
              <a:off x="3989134" y="4668150"/>
              <a:ext cx="2015062" cy="1878586"/>
            </a:xfrm>
            <a:custGeom>
              <a:avLst/>
              <a:gdLst>
                <a:gd name="connsiteX0" fmla="*/ 1236223 w 2015062"/>
                <a:gd name="connsiteY0" fmla="*/ -223 h 1878586"/>
                <a:gd name="connsiteX1" fmla="*/ -823 w 2015062"/>
                <a:gd name="connsiteY1" fmla="*/ 712959 h 1878586"/>
                <a:gd name="connsiteX2" fmla="*/ 2014239 w 2015062"/>
                <a:gd name="connsiteY2" fmla="*/ 1878363 h 1878586"/>
                <a:gd name="connsiteX3" fmla="*/ 2014239 w 2015062"/>
                <a:gd name="connsiteY3" fmla="*/ 448434 h 1878586"/>
                <a:gd name="connsiteX4" fmla="*/ 1236223 w 2015062"/>
                <a:gd name="connsiteY4" fmla="*/ -223 h 1878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062" h="1878586">
                  <a:moveTo>
                    <a:pt x="1236223" y="-223"/>
                  </a:moveTo>
                  <a:lnTo>
                    <a:pt x="-823" y="712959"/>
                  </a:lnTo>
                  <a:cubicBezTo>
                    <a:pt x="438820" y="1408668"/>
                    <a:pt x="1191973" y="1844260"/>
                    <a:pt x="2014239" y="1878363"/>
                  </a:cubicBezTo>
                  <a:lnTo>
                    <a:pt x="2014239" y="448434"/>
                  </a:lnTo>
                  <a:cubicBezTo>
                    <a:pt x="1701832" y="419615"/>
                    <a:pt x="1417630" y="255713"/>
                    <a:pt x="1236223" y="-223"/>
                  </a:cubicBezTo>
                  <a:close/>
                </a:path>
              </a:pathLst>
            </a:custGeom>
            <a:grpFill/>
            <a:ln w="32410" cap="flat">
              <a:noFill/>
              <a:prstDash val="solid"/>
              <a:miter/>
            </a:ln>
          </p:spPr>
          <p:txBody>
            <a:bodyPr rtlCol="0" anchor="ctr"/>
            <a:lstStyle/>
            <a:p>
              <a:endParaRPr lang="en-GB"/>
            </a:p>
          </p:txBody>
        </p:sp>
        <p:sp>
          <p:nvSpPr>
            <p:cNvPr id="16" name="Graphic 3">
              <a:extLst>
                <a:ext uri="{FF2B5EF4-FFF2-40B4-BE49-F238E27FC236}">
                  <a16:creationId xmlns:a16="http://schemas.microsoft.com/office/drawing/2014/main" id="{677A3EDC-AE74-431E-9E11-3F23EA820598}"/>
                </a:ext>
              </a:extLst>
            </p:cNvPr>
            <p:cNvSpPr/>
            <p:nvPr/>
          </p:nvSpPr>
          <p:spPr>
            <a:xfrm>
              <a:off x="7073969" y="2887465"/>
              <a:ext cx="1524750" cy="2325620"/>
            </a:xfrm>
            <a:custGeom>
              <a:avLst/>
              <a:gdLst>
                <a:gd name="connsiteX0" fmla="*/ -823 w 1524750"/>
                <a:gd name="connsiteY0" fmla="*/ 715553 h 2325620"/>
                <a:gd name="connsiteX1" fmla="*/ -823 w 1524750"/>
                <a:gd name="connsiteY1" fmla="*/ 1612216 h 2325620"/>
                <a:gd name="connsiteX2" fmla="*/ 1236547 w 1524750"/>
                <a:gd name="connsiteY2" fmla="*/ 2325398 h 2325620"/>
                <a:gd name="connsiteX3" fmla="*/ 1236547 w 1524750"/>
                <a:gd name="connsiteY3" fmla="*/ -223 h 2325620"/>
                <a:gd name="connsiteX4" fmla="*/ 800858 w 1524750"/>
                <a:gd name="connsiteY4" fmla="*/ 251336 h 232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750" h="2325620">
                  <a:moveTo>
                    <a:pt x="-823" y="715553"/>
                  </a:moveTo>
                  <a:cubicBezTo>
                    <a:pt x="130467" y="1000015"/>
                    <a:pt x="130467" y="1327754"/>
                    <a:pt x="-823" y="1612216"/>
                  </a:cubicBezTo>
                  <a:lnTo>
                    <a:pt x="1236547" y="2325398"/>
                  </a:lnTo>
                  <a:cubicBezTo>
                    <a:pt x="1619720" y="1597532"/>
                    <a:pt x="1619720" y="727644"/>
                    <a:pt x="1236547" y="-223"/>
                  </a:cubicBezTo>
                  <a:lnTo>
                    <a:pt x="800858" y="251336"/>
                  </a:lnTo>
                  <a:close/>
                </a:path>
              </a:pathLst>
            </a:custGeom>
            <a:grpFill/>
            <a:ln w="32410" cap="flat">
              <a:noFill/>
              <a:prstDash val="solid"/>
              <a:miter/>
            </a:ln>
          </p:spPr>
          <p:txBody>
            <a:bodyPr rtlCol="0" anchor="ctr"/>
            <a:lstStyle/>
            <a:p>
              <a:endParaRPr lang="en-GB"/>
            </a:p>
          </p:txBody>
        </p:sp>
        <p:sp>
          <p:nvSpPr>
            <p:cNvPr id="17" name="Graphic 3">
              <a:extLst>
                <a:ext uri="{FF2B5EF4-FFF2-40B4-BE49-F238E27FC236}">
                  <a16:creationId xmlns:a16="http://schemas.microsoft.com/office/drawing/2014/main" id="{677A3EDC-AE74-431E-9E11-3F23EA820598}"/>
                </a:ext>
              </a:extLst>
            </p:cNvPr>
            <p:cNvSpPr/>
            <p:nvPr/>
          </p:nvSpPr>
          <p:spPr>
            <a:xfrm>
              <a:off x="6197080" y="4669447"/>
              <a:ext cx="2015386" cy="1877289"/>
            </a:xfrm>
            <a:custGeom>
              <a:avLst/>
              <a:gdLst>
                <a:gd name="connsiteX0" fmla="*/ 2014564 w 2015386"/>
                <a:gd name="connsiteY0" fmla="*/ 712959 h 1877289"/>
                <a:gd name="connsiteX1" fmla="*/ 777194 w 2015386"/>
                <a:gd name="connsiteY1" fmla="*/ -223 h 1877289"/>
                <a:gd name="connsiteX2" fmla="*/ -823 w 2015386"/>
                <a:gd name="connsiteY2" fmla="*/ 448433 h 1877289"/>
                <a:gd name="connsiteX3" fmla="*/ -823 w 2015386"/>
                <a:gd name="connsiteY3" fmla="*/ 1877066 h 1877289"/>
                <a:gd name="connsiteX4" fmla="*/ 2014564 w 2015386"/>
                <a:gd name="connsiteY4" fmla="*/ 712959 h 187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5386" h="1877289">
                  <a:moveTo>
                    <a:pt x="2014564" y="712959"/>
                  </a:moveTo>
                  <a:lnTo>
                    <a:pt x="777194" y="-223"/>
                  </a:lnTo>
                  <a:cubicBezTo>
                    <a:pt x="595883" y="255842"/>
                    <a:pt x="311616" y="419776"/>
                    <a:pt x="-823" y="448433"/>
                  </a:cubicBezTo>
                  <a:lnTo>
                    <a:pt x="-823" y="1877066"/>
                  </a:lnTo>
                  <a:cubicBezTo>
                    <a:pt x="821312" y="1843352"/>
                    <a:pt x="1574563" y="1408279"/>
                    <a:pt x="2014564" y="712959"/>
                  </a:cubicBezTo>
                  <a:close/>
                </a:path>
              </a:pathLst>
            </a:custGeom>
            <a:grpFill/>
            <a:ln w="32410" cap="flat">
              <a:noFill/>
              <a:prstDash val="solid"/>
              <a:miter/>
            </a:ln>
          </p:spPr>
          <p:txBody>
            <a:bodyPr rtlCol="0" anchor="ctr"/>
            <a:lstStyle/>
            <a:p>
              <a:endParaRPr lang="en-GB"/>
            </a:p>
          </p:txBody>
        </p:sp>
      </p:grpSp>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sp>
        <p:nvSpPr>
          <p:cNvPr id="11" name="Ovaal 10">
            <a:extLst>
              <a:ext uri="{FF2B5EF4-FFF2-40B4-BE49-F238E27FC236}">
                <a16:creationId xmlns:a16="http://schemas.microsoft.com/office/drawing/2014/main" id="{F7B1B397-9AA8-4997-ACE1-7F4274326884}"/>
              </a:ext>
            </a:extLst>
          </p:cNvPr>
          <p:cNvSpPr/>
          <p:nvPr/>
        </p:nvSpPr>
        <p:spPr>
          <a:xfrm rot="1483458">
            <a:off x="4824296" y="2763114"/>
            <a:ext cx="2535183" cy="25351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11">
            <a:extLst>
              <a:ext uri="{FF2B5EF4-FFF2-40B4-BE49-F238E27FC236}">
                <a16:creationId xmlns:a16="http://schemas.microsoft.com/office/drawing/2014/main" id="{7E38A256-D432-4A42-990F-096867500621}"/>
              </a:ext>
            </a:extLst>
          </p:cNvPr>
          <p:cNvSpPr>
            <a:spLocks noGrp="1"/>
          </p:cNvSpPr>
          <p:nvPr>
            <p:ph type="body" sz="quarter" idx="14"/>
          </p:nvPr>
        </p:nvSpPr>
        <p:spPr>
          <a:xfrm>
            <a:off x="681148" y="1990935"/>
            <a:ext cx="2510881"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0" name="Tijdelijke aanduiding voor tekst 11">
            <a:extLst>
              <a:ext uri="{FF2B5EF4-FFF2-40B4-BE49-F238E27FC236}">
                <a16:creationId xmlns:a16="http://schemas.microsoft.com/office/drawing/2014/main" id="{2D5AD455-BC7B-416D-B4C5-D66C6E990656}"/>
              </a:ext>
            </a:extLst>
          </p:cNvPr>
          <p:cNvSpPr>
            <a:spLocks noGrp="1"/>
          </p:cNvSpPr>
          <p:nvPr>
            <p:ph type="body" sz="quarter" idx="15"/>
          </p:nvPr>
        </p:nvSpPr>
        <p:spPr>
          <a:xfrm>
            <a:off x="686122" y="5250834"/>
            <a:ext cx="2505908"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1" name="Tijdelijke aanduiding voor tekst 11">
            <a:extLst>
              <a:ext uri="{FF2B5EF4-FFF2-40B4-BE49-F238E27FC236}">
                <a16:creationId xmlns:a16="http://schemas.microsoft.com/office/drawing/2014/main" id="{2E8AC28C-3A8A-4A04-9E36-F384F076D2F7}"/>
              </a:ext>
            </a:extLst>
          </p:cNvPr>
          <p:cNvSpPr>
            <a:spLocks noGrp="1"/>
          </p:cNvSpPr>
          <p:nvPr>
            <p:ph type="body" sz="quarter" idx="16"/>
          </p:nvPr>
        </p:nvSpPr>
        <p:spPr>
          <a:xfrm>
            <a:off x="8915343" y="199093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2" name="Tijdelijke aanduiding voor tekst 11">
            <a:extLst>
              <a:ext uri="{FF2B5EF4-FFF2-40B4-BE49-F238E27FC236}">
                <a16:creationId xmlns:a16="http://schemas.microsoft.com/office/drawing/2014/main" id="{188834F8-CE3E-48BE-BC87-290542EDC7BB}"/>
              </a:ext>
            </a:extLst>
          </p:cNvPr>
          <p:cNvSpPr>
            <a:spLocks noGrp="1"/>
          </p:cNvSpPr>
          <p:nvPr>
            <p:ph type="body" sz="quarter" idx="17"/>
          </p:nvPr>
        </p:nvSpPr>
        <p:spPr>
          <a:xfrm>
            <a:off x="8915343" y="5265495"/>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3" name="Tijdelijke aanduiding voor tekst 11">
            <a:extLst>
              <a:ext uri="{FF2B5EF4-FFF2-40B4-BE49-F238E27FC236}">
                <a16:creationId xmlns:a16="http://schemas.microsoft.com/office/drawing/2014/main" id="{7880094D-23F0-4D30-862B-B9CB69091E23}"/>
              </a:ext>
            </a:extLst>
          </p:cNvPr>
          <p:cNvSpPr>
            <a:spLocks noGrp="1"/>
          </p:cNvSpPr>
          <p:nvPr>
            <p:ph type="body" sz="quarter" idx="19"/>
          </p:nvPr>
        </p:nvSpPr>
        <p:spPr>
          <a:xfrm>
            <a:off x="720710" y="3562031"/>
            <a:ext cx="2473177" cy="962688"/>
          </a:xfrm>
        </p:spPr>
        <p:txBody>
          <a:bodyPr anchor="ctr">
            <a:normAutofit/>
          </a:bodyPr>
          <a:lstStyle>
            <a:lvl1pPr marL="0" indent="0" algn="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sp>
        <p:nvSpPr>
          <p:cNvPr id="24" name="Tijdelijke aanduiding voor tekst 11">
            <a:extLst>
              <a:ext uri="{FF2B5EF4-FFF2-40B4-BE49-F238E27FC236}">
                <a16:creationId xmlns:a16="http://schemas.microsoft.com/office/drawing/2014/main" id="{A897AB8D-CB8F-4926-ACD1-DA67C4827A50}"/>
              </a:ext>
            </a:extLst>
          </p:cNvPr>
          <p:cNvSpPr>
            <a:spLocks noGrp="1"/>
          </p:cNvSpPr>
          <p:nvPr>
            <p:ph type="body" sz="quarter" idx="20"/>
          </p:nvPr>
        </p:nvSpPr>
        <p:spPr>
          <a:xfrm>
            <a:off x="8915343" y="3574530"/>
            <a:ext cx="2555578" cy="962688"/>
          </a:xfrm>
        </p:spPr>
        <p:txBody>
          <a:bodyPr anchor="ctr">
            <a:normAutofit/>
          </a:bodyPr>
          <a:lstStyle>
            <a:lvl1pPr marL="0" indent="0" algn="l">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26" name="Rechte verbindingslijn met pijl 25">
            <a:extLst>
              <a:ext uri="{FF2B5EF4-FFF2-40B4-BE49-F238E27FC236}">
                <a16:creationId xmlns:a16="http://schemas.microsoft.com/office/drawing/2014/main" id="{FD3F3DF2-0A8E-4336-8842-E0D951F3B531}"/>
              </a:ext>
            </a:extLst>
          </p:cNvPr>
          <p:cNvCxnSpPr>
            <a:cxnSpLocks/>
          </p:cNvCxnSpPr>
          <p:nvPr/>
        </p:nvCxnSpPr>
        <p:spPr>
          <a:xfrm>
            <a:off x="6910741" y="2471252"/>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a:extLst>
              <a:ext uri="{FF2B5EF4-FFF2-40B4-BE49-F238E27FC236}">
                <a16:creationId xmlns:a16="http://schemas.microsoft.com/office/drawing/2014/main" id="{4016C184-396D-40A8-B2EF-9DBB7999B060}"/>
              </a:ext>
            </a:extLst>
          </p:cNvPr>
          <p:cNvCxnSpPr>
            <a:cxnSpLocks/>
          </p:cNvCxnSpPr>
          <p:nvPr/>
        </p:nvCxnSpPr>
        <p:spPr>
          <a:xfrm>
            <a:off x="7926283" y="4043375"/>
            <a:ext cx="824312"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D5FB0855-65EF-489B-BEBA-4A4DCAA76442}"/>
              </a:ext>
            </a:extLst>
          </p:cNvPr>
          <p:cNvCxnSpPr>
            <a:cxnSpLocks/>
          </p:cNvCxnSpPr>
          <p:nvPr/>
        </p:nvCxnSpPr>
        <p:spPr>
          <a:xfrm>
            <a:off x="6910741" y="5732178"/>
            <a:ext cx="1839854" cy="0"/>
          </a:xfrm>
          <a:prstGeom prst="straightConnector1">
            <a:avLst/>
          </a:prstGeom>
          <a:ln w="12700">
            <a:solidFill>
              <a:schemeClr val="tx1"/>
            </a:solidFill>
            <a:headEnd type="oval" w="sm" len="sm"/>
            <a:tailEnd type="non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82F01B7F-E955-440A-B0E0-7E72D5BBCFFB}"/>
              </a:ext>
            </a:extLst>
          </p:cNvPr>
          <p:cNvCxnSpPr>
            <a:cxnSpLocks/>
          </p:cNvCxnSpPr>
          <p:nvPr/>
        </p:nvCxnSpPr>
        <p:spPr>
          <a:xfrm>
            <a:off x="3391471" y="2471252"/>
            <a:ext cx="18072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A882B6FB-CDD3-4B60-9B92-E1E8A848AAC6}"/>
              </a:ext>
            </a:extLst>
          </p:cNvPr>
          <p:cNvCxnSpPr>
            <a:cxnSpLocks/>
          </p:cNvCxnSpPr>
          <p:nvPr/>
        </p:nvCxnSpPr>
        <p:spPr>
          <a:xfrm>
            <a:off x="3359071" y="4043375"/>
            <a:ext cx="8244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5142415A-B45F-4A6A-ABE9-E048AC61D929}"/>
              </a:ext>
            </a:extLst>
          </p:cNvPr>
          <p:cNvCxnSpPr>
            <a:cxnSpLocks/>
          </p:cNvCxnSpPr>
          <p:nvPr/>
        </p:nvCxnSpPr>
        <p:spPr>
          <a:xfrm>
            <a:off x="3359071" y="5727403"/>
            <a:ext cx="1839600" cy="0"/>
          </a:xfrm>
          <a:prstGeom prst="straightConnector1">
            <a:avLst/>
          </a:prstGeom>
          <a:ln w="12700">
            <a:solidFill>
              <a:schemeClr val="tx1"/>
            </a:solidFill>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4" name="Tijdelijke aanduiding voor tekst 11">
            <a:extLst>
              <a:ext uri="{FF2B5EF4-FFF2-40B4-BE49-F238E27FC236}">
                <a16:creationId xmlns:a16="http://schemas.microsoft.com/office/drawing/2014/main" id="{1EDD9556-EE01-4EF9-97AE-8385061BE2CF}"/>
              </a:ext>
            </a:extLst>
          </p:cNvPr>
          <p:cNvSpPr>
            <a:spLocks noGrp="1"/>
          </p:cNvSpPr>
          <p:nvPr>
            <p:ph type="body" sz="quarter" idx="18" hasCustomPrompt="1"/>
          </p:nvPr>
        </p:nvSpPr>
        <p:spPr>
          <a:xfrm>
            <a:off x="5112697" y="3096028"/>
            <a:ext cx="1961272" cy="1900644"/>
          </a:xfrm>
        </p:spPr>
        <p:txBody>
          <a:bodyPr anchor="ctr">
            <a:normAutofit/>
          </a:bodyPr>
          <a:lstStyle>
            <a:lvl1pPr marL="0" indent="0" algn="ctr">
              <a:buFont typeface="Arial" panose="020B0604020202020204" pitchFamily="34" charset="0"/>
              <a:buNone/>
              <a:defRPr sz="2000" b="1" cap="all" baseline="0">
                <a:solidFill>
                  <a:schemeClr val="accent1"/>
                </a:solidFill>
              </a:defRPr>
            </a:lvl1pPr>
            <a:lvl2pPr marL="0" indent="0">
              <a:buNone/>
              <a:defRPr/>
            </a:lvl2pPr>
          </a:lstStyle>
          <a:p>
            <a:pPr lvl="0"/>
            <a:r>
              <a:rPr lang="nl-NL" dirty="0"/>
              <a:t>KEY MESSAGE</a:t>
            </a:r>
          </a:p>
        </p:txBody>
      </p:sp>
      <p:sp>
        <p:nvSpPr>
          <p:cNvPr id="3" name="Tijdelijke aanduiding voor voettekst 2">
            <a:extLst>
              <a:ext uri="{FF2B5EF4-FFF2-40B4-BE49-F238E27FC236}">
                <a16:creationId xmlns:a16="http://schemas.microsoft.com/office/drawing/2014/main" id="{27B899CC-F789-4B53-AC07-F992D39E1970}"/>
              </a:ext>
            </a:extLst>
          </p:cNvPr>
          <p:cNvSpPr>
            <a:spLocks noGrp="1"/>
          </p:cNvSpPr>
          <p:nvPr>
            <p:ph type="ftr" sz="quarter" idx="21"/>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0661CB57-2B67-460B-8583-FC481646736B}"/>
              </a:ext>
            </a:extLst>
          </p:cNvPr>
          <p:cNvSpPr>
            <a:spLocks noGrp="1"/>
          </p:cNvSpPr>
          <p:nvPr>
            <p:ph type="sldNum" sz="quarter" idx="22"/>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3906779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53" presetClass="entr" presetSubtype="16" fill="hold" grpId="0" nodeType="withEffect">
                                  <p:stCondLst>
                                    <p:cond delay="500"/>
                                  </p:stCondLst>
                                  <p:childTnLst>
                                    <p:set>
                                      <p:cBhvr>
                                        <p:cTn id="24" dur="1" fill="hold">
                                          <p:stCondLst>
                                            <p:cond delay="0"/>
                                          </p:stCondLst>
                                        </p:cTn>
                                        <p:tgtEl>
                                          <p:spTgt spid="34">
                                            <p:txEl>
                                              <p:pRg st="0" end="0"/>
                                            </p:txEl>
                                          </p:spTgt>
                                        </p:tgtEl>
                                        <p:attrNameLst>
                                          <p:attrName>style.visibility</p:attrName>
                                        </p:attrNameLst>
                                      </p:cBhvr>
                                      <p:to>
                                        <p:strVal val="visible"/>
                                      </p:to>
                                    </p:set>
                                    <p:anim calcmode="lin" valueType="num">
                                      <p:cBhvr>
                                        <p:cTn id="25" dur="500" fill="hold"/>
                                        <p:tgtEl>
                                          <p:spTgt spid="34">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34">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tmplLst>
          <p:tmpl>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0" grpId="0">
        <p:tmplLst>
          <p:tmpl>
            <p:tnLst>
              <p:par>
                <p:cTn presetID="10" presetClass="entr" presetSubtype="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p:tmplLst>
          <p:tmpl>
            <p:tnLst>
              <p:par>
                <p:cTn presetID="10" presetClass="entr" presetSubtype="0" fill="hold" nodeType="withEffect">
                  <p:stCondLst>
                    <p:cond delay="25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2" grpId="0">
        <p:tmplLst>
          <p:tmpl>
            <p:tnLst>
              <p:par>
                <p:cTn presetID="10" presetClass="entr" presetSubtype="0" fill="hold" nodeType="with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24" grpId="0">
        <p:tmplLst>
          <p:tmpl>
            <p:tnLst>
              <p:par>
                <p:cTn presetID="10" presetClass="entr" presetSubtype="0"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34" grpId="0" build="p">
        <p:tmplLst>
          <p:tmpl lvl="1">
            <p:tnLst>
              <p:par>
                <p:cTn presetID="53" presetClass="entr" presetSubtype="16"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p:cTn dur="500" fill="hold"/>
                        <p:tgtEl>
                          <p:spTgt spid="34"/>
                        </p:tgtEl>
                        <p:attrNameLst>
                          <p:attrName>ppt_w</p:attrName>
                        </p:attrNameLst>
                      </p:cBhvr>
                      <p:tavLst>
                        <p:tav tm="0">
                          <p:val>
                            <p:fltVal val="0"/>
                          </p:val>
                        </p:tav>
                        <p:tav tm="100000">
                          <p:val>
                            <p:strVal val="#ppt_w"/>
                          </p:val>
                        </p:tav>
                      </p:tavLst>
                    </p:anim>
                    <p:anim calcmode="lin" valueType="num">
                      <p:cBhvr>
                        <p:cTn dur="500" fill="hold"/>
                        <p:tgtEl>
                          <p:spTgt spid="34"/>
                        </p:tgtEl>
                        <p:attrNameLst>
                          <p:attrName>ppt_h</p:attrName>
                        </p:attrNameLst>
                      </p:cBhvr>
                      <p:tavLst>
                        <p:tav tm="0">
                          <p:val>
                            <p:fltVal val="0"/>
                          </p:val>
                        </p:tav>
                        <p:tav tm="100000">
                          <p:val>
                            <p:strVal val="#ppt_h"/>
                          </p:val>
                        </p:tav>
                      </p:tavLst>
                    </p:anim>
                    <p:animEffect transition="in" filter="fade">
                      <p:cBhvr>
                        <p:cTn dur="500"/>
                        <p:tgtEl>
                          <p:spTgt spid="34"/>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agram - 5 optio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6BB5B-14D2-4A70-B1FE-79DB35477DA0}"/>
              </a:ext>
            </a:extLst>
          </p:cNvPr>
          <p:cNvSpPr>
            <a:spLocks noGrp="1"/>
          </p:cNvSpPr>
          <p:nvPr>
            <p:ph type="title"/>
          </p:nvPr>
        </p:nvSpPr>
        <p:spPr/>
        <p:txBody>
          <a:bodyPr/>
          <a:lstStyle/>
          <a:p>
            <a:r>
              <a:rPr lang="en-US"/>
              <a:t>Click to edit Master title style</a:t>
            </a:r>
            <a:endParaRPr lang="en-GB"/>
          </a:p>
        </p:txBody>
      </p:sp>
      <p:cxnSp>
        <p:nvCxnSpPr>
          <p:cNvPr id="9" name="Rechte verbindingslijn 8">
            <a:extLst>
              <a:ext uri="{FF2B5EF4-FFF2-40B4-BE49-F238E27FC236}">
                <a16:creationId xmlns:a16="http://schemas.microsoft.com/office/drawing/2014/main" id="{498B4DCE-2704-40D5-AFF2-FF3510C238F1}"/>
              </a:ext>
            </a:extLst>
          </p:cNvPr>
          <p:cNvCxnSpPr/>
          <p:nvPr/>
        </p:nvCxnSpPr>
        <p:spPr>
          <a:xfrm>
            <a:off x="1729824" y="3517948"/>
            <a:ext cx="0" cy="116006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8" name="Tijdelijke aanduiding voor tekst 11">
            <a:extLst>
              <a:ext uri="{FF2B5EF4-FFF2-40B4-BE49-F238E27FC236}">
                <a16:creationId xmlns:a16="http://schemas.microsoft.com/office/drawing/2014/main" id="{80F700A6-B198-4148-80A5-AF17F78C934C}"/>
              </a:ext>
            </a:extLst>
          </p:cNvPr>
          <p:cNvSpPr>
            <a:spLocks noGrp="1"/>
          </p:cNvSpPr>
          <p:nvPr>
            <p:ph type="body" sz="quarter" idx="14"/>
          </p:nvPr>
        </p:nvSpPr>
        <p:spPr>
          <a:xfrm>
            <a:off x="479147"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0" name="Rechte verbindingslijn 39">
            <a:extLst>
              <a:ext uri="{FF2B5EF4-FFF2-40B4-BE49-F238E27FC236}">
                <a16:creationId xmlns:a16="http://schemas.microsoft.com/office/drawing/2014/main" id="{D33FE0A0-4B7D-426F-A670-0313E74E861E}"/>
              </a:ext>
            </a:extLst>
          </p:cNvPr>
          <p:cNvCxnSpPr/>
          <p:nvPr/>
        </p:nvCxnSpPr>
        <p:spPr>
          <a:xfrm>
            <a:off x="6106500" y="3517948"/>
            <a:ext cx="0" cy="1160060"/>
          </a:xfrm>
          <a:prstGeom prst="line">
            <a:avLst/>
          </a:prstGeom>
          <a:ln w="19050">
            <a:solidFill>
              <a:srgbClr val="FF7A1D"/>
            </a:solidFill>
          </a:ln>
        </p:spPr>
        <p:style>
          <a:lnRef idx="1">
            <a:schemeClr val="accent1"/>
          </a:lnRef>
          <a:fillRef idx="0">
            <a:schemeClr val="accent1"/>
          </a:fillRef>
          <a:effectRef idx="0">
            <a:schemeClr val="accent1"/>
          </a:effectRef>
          <a:fontRef idx="minor">
            <a:schemeClr val="tx1"/>
          </a:fontRef>
        </p:style>
      </p:cxnSp>
      <p:sp>
        <p:nvSpPr>
          <p:cNvPr id="41" name="Tijdelijke aanduiding voor tekst 11">
            <a:extLst>
              <a:ext uri="{FF2B5EF4-FFF2-40B4-BE49-F238E27FC236}">
                <a16:creationId xmlns:a16="http://schemas.microsoft.com/office/drawing/2014/main" id="{CADC3538-E5D6-45E1-A0AB-4E99727BD91F}"/>
              </a:ext>
            </a:extLst>
          </p:cNvPr>
          <p:cNvSpPr>
            <a:spLocks noGrp="1"/>
          </p:cNvSpPr>
          <p:nvPr>
            <p:ph type="body" sz="quarter" idx="15"/>
          </p:nvPr>
        </p:nvSpPr>
        <p:spPr>
          <a:xfrm>
            <a:off x="4855823"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2" name="Rechte verbindingslijn 41">
            <a:extLst>
              <a:ext uri="{FF2B5EF4-FFF2-40B4-BE49-F238E27FC236}">
                <a16:creationId xmlns:a16="http://schemas.microsoft.com/office/drawing/2014/main" id="{FE017B11-C244-434F-929C-0784042EC907}"/>
              </a:ext>
            </a:extLst>
          </p:cNvPr>
          <p:cNvCxnSpPr/>
          <p:nvPr/>
        </p:nvCxnSpPr>
        <p:spPr>
          <a:xfrm>
            <a:off x="10508878" y="3517948"/>
            <a:ext cx="0" cy="116006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Tijdelijke aanduiding voor tekst 11">
            <a:extLst>
              <a:ext uri="{FF2B5EF4-FFF2-40B4-BE49-F238E27FC236}">
                <a16:creationId xmlns:a16="http://schemas.microsoft.com/office/drawing/2014/main" id="{7C33880C-2605-40BC-8CC8-EEE1D1900D70}"/>
              </a:ext>
            </a:extLst>
          </p:cNvPr>
          <p:cNvSpPr>
            <a:spLocks noGrp="1"/>
          </p:cNvSpPr>
          <p:nvPr>
            <p:ph type="body" sz="quarter" idx="16"/>
          </p:nvPr>
        </p:nvSpPr>
        <p:spPr>
          <a:xfrm>
            <a:off x="9258201" y="4851451"/>
            <a:ext cx="2510881" cy="1154361"/>
          </a:xfrm>
        </p:spPr>
        <p:txBody>
          <a:bodyPr anchor="t">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4" name="Rechte verbindingslijn 43">
            <a:extLst>
              <a:ext uri="{FF2B5EF4-FFF2-40B4-BE49-F238E27FC236}">
                <a16:creationId xmlns:a16="http://schemas.microsoft.com/office/drawing/2014/main" id="{353B1555-FDDB-4621-BE82-AE12B1A72360}"/>
              </a:ext>
            </a:extLst>
          </p:cNvPr>
          <p:cNvCxnSpPr/>
          <p:nvPr/>
        </p:nvCxnSpPr>
        <p:spPr>
          <a:xfrm>
            <a:off x="3920131" y="3269509"/>
            <a:ext cx="0" cy="1160060"/>
          </a:xfrm>
          <a:prstGeom prst="line">
            <a:avLst/>
          </a:prstGeom>
          <a:ln w="19050">
            <a:solidFill>
              <a:srgbClr val="FF8414"/>
            </a:solidFill>
          </a:ln>
        </p:spPr>
        <p:style>
          <a:lnRef idx="1">
            <a:schemeClr val="accent1"/>
          </a:lnRef>
          <a:fillRef idx="0">
            <a:schemeClr val="accent1"/>
          </a:fillRef>
          <a:effectRef idx="0">
            <a:schemeClr val="accent1"/>
          </a:effectRef>
          <a:fontRef idx="minor">
            <a:schemeClr val="tx1"/>
          </a:fontRef>
        </p:style>
      </p:cxnSp>
      <p:sp>
        <p:nvSpPr>
          <p:cNvPr id="45" name="Tijdelijke aanduiding voor tekst 11">
            <a:extLst>
              <a:ext uri="{FF2B5EF4-FFF2-40B4-BE49-F238E27FC236}">
                <a16:creationId xmlns:a16="http://schemas.microsoft.com/office/drawing/2014/main" id="{CC49ADED-9845-4F27-AD1D-83B9AF69B21C}"/>
              </a:ext>
            </a:extLst>
          </p:cNvPr>
          <p:cNvSpPr>
            <a:spLocks noGrp="1"/>
          </p:cNvSpPr>
          <p:nvPr>
            <p:ph type="body" sz="quarter" idx="17"/>
          </p:nvPr>
        </p:nvSpPr>
        <p:spPr>
          <a:xfrm>
            <a:off x="2658726" y="1961626"/>
            <a:ext cx="2510881" cy="1160060"/>
          </a:xfrm>
        </p:spPr>
        <p:txBody>
          <a:bodyPr anchor="b">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cxnSp>
        <p:nvCxnSpPr>
          <p:cNvPr id="46" name="Rechte verbindingslijn 45">
            <a:extLst>
              <a:ext uri="{FF2B5EF4-FFF2-40B4-BE49-F238E27FC236}">
                <a16:creationId xmlns:a16="http://schemas.microsoft.com/office/drawing/2014/main" id="{178A62CD-F80E-4B85-A96E-E6E982B911E9}"/>
              </a:ext>
            </a:extLst>
          </p:cNvPr>
          <p:cNvCxnSpPr/>
          <p:nvPr/>
        </p:nvCxnSpPr>
        <p:spPr>
          <a:xfrm>
            <a:off x="8285323" y="3269509"/>
            <a:ext cx="0" cy="1160060"/>
          </a:xfrm>
          <a:prstGeom prst="line">
            <a:avLst/>
          </a:prstGeom>
          <a:ln w="19050">
            <a:solidFill>
              <a:srgbClr val="FF6924"/>
            </a:solidFill>
          </a:ln>
        </p:spPr>
        <p:style>
          <a:lnRef idx="1">
            <a:schemeClr val="accent1"/>
          </a:lnRef>
          <a:fillRef idx="0">
            <a:schemeClr val="accent1"/>
          </a:fillRef>
          <a:effectRef idx="0">
            <a:schemeClr val="accent1"/>
          </a:effectRef>
          <a:fontRef idx="minor">
            <a:schemeClr val="tx1"/>
          </a:fontRef>
        </p:style>
      </p:cxnSp>
      <p:sp>
        <p:nvSpPr>
          <p:cNvPr id="47" name="Tijdelijke aanduiding voor tekst 11">
            <a:extLst>
              <a:ext uri="{FF2B5EF4-FFF2-40B4-BE49-F238E27FC236}">
                <a16:creationId xmlns:a16="http://schemas.microsoft.com/office/drawing/2014/main" id="{517B8485-E6B7-4B58-A92D-95A6E3DC259F}"/>
              </a:ext>
            </a:extLst>
          </p:cNvPr>
          <p:cNvSpPr>
            <a:spLocks noGrp="1"/>
          </p:cNvSpPr>
          <p:nvPr>
            <p:ph type="body" sz="quarter" idx="18"/>
          </p:nvPr>
        </p:nvSpPr>
        <p:spPr>
          <a:xfrm>
            <a:off x="7023918" y="1961626"/>
            <a:ext cx="2510881" cy="1160060"/>
          </a:xfrm>
        </p:spPr>
        <p:txBody>
          <a:bodyPr anchor="b">
            <a:normAutofit/>
          </a:bodyPr>
          <a:lstStyle>
            <a:lvl1pPr marL="0" indent="0" algn="ctr">
              <a:buFont typeface="Arial" panose="020B0604020202020204" pitchFamily="34" charset="0"/>
              <a:buNone/>
              <a:defRPr sz="1800" b="0">
                <a:solidFill>
                  <a:schemeClr val="tx1"/>
                </a:solidFill>
              </a:defRPr>
            </a:lvl1pPr>
            <a:lvl2pPr marL="0" indent="0">
              <a:buNone/>
              <a:defRPr/>
            </a:lvl2pPr>
          </a:lstStyle>
          <a:p>
            <a:pPr lvl="0"/>
            <a:r>
              <a:rPr lang="en-US"/>
              <a:t>Click to edit Master text styles</a:t>
            </a:r>
          </a:p>
        </p:txBody>
      </p:sp>
      <p:grpSp>
        <p:nvGrpSpPr>
          <p:cNvPr id="7" name="Groep 6">
            <a:extLst>
              <a:ext uri="{FF2B5EF4-FFF2-40B4-BE49-F238E27FC236}">
                <a16:creationId xmlns:a16="http://schemas.microsoft.com/office/drawing/2014/main" id="{46A9B1A9-0FF1-4592-AAD4-7197D0D6927B}"/>
              </a:ext>
            </a:extLst>
          </p:cNvPr>
          <p:cNvGrpSpPr/>
          <p:nvPr/>
        </p:nvGrpSpPr>
        <p:grpSpPr>
          <a:xfrm>
            <a:off x="850232" y="2933444"/>
            <a:ext cx="10506076" cy="2064357"/>
            <a:chOff x="1607298" y="2320542"/>
            <a:chExt cx="11440281" cy="2247921"/>
          </a:xfrm>
          <a:gradFill>
            <a:gsLst>
              <a:gs pos="0">
                <a:schemeClr val="accent1"/>
              </a:gs>
              <a:gs pos="100000">
                <a:schemeClr val="accent2"/>
              </a:gs>
            </a:gsLst>
            <a:lin ang="21594000" scaled="0"/>
          </a:gradFill>
        </p:grpSpPr>
        <p:sp>
          <p:nvSpPr>
            <p:cNvPr id="5" name="Graphic 3">
              <a:extLst>
                <a:ext uri="{FF2B5EF4-FFF2-40B4-BE49-F238E27FC236}">
                  <a16:creationId xmlns:a16="http://schemas.microsoft.com/office/drawing/2014/main" id="{34FC95EC-A784-4490-8B22-EDDD0F141F40}"/>
                </a:ext>
              </a:extLst>
            </p:cNvPr>
            <p:cNvSpPr/>
            <p:nvPr/>
          </p:nvSpPr>
          <p:spPr>
            <a:xfrm rot="2700000">
              <a:off x="1607298" y="2333873"/>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27" name="Graphic 3">
              <a:extLst>
                <a:ext uri="{FF2B5EF4-FFF2-40B4-BE49-F238E27FC236}">
                  <a16:creationId xmlns:a16="http://schemas.microsoft.com/office/drawing/2014/main" id="{E4734907-6B2B-4F61-91A1-5C684C8AC19F}"/>
                </a:ext>
              </a:extLst>
            </p:cNvPr>
            <p:cNvSpPr/>
            <p:nvPr userDrawn="1"/>
          </p:nvSpPr>
          <p:spPr>
            <a:xfrm rot="13500000">
              <a:off x="3988994" y="2652850"/>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30" name="Graphic 3">
              <a:extLst>
                <a:ext uri="{FF2B5EF4-FFF2-40B4-BE49-F238E27FC236}">
                  <a16:creationId xmlns:a16="http://schemas.microsoft.com/office/drawing/2014/main" id="{19BBAD39-B46C-4BF9-B89A-61D77733B6D7}"/>
                </a:ext>
              </a:extLst>
            </p:cNvPr>
            <p:cNvSpPr/>
            <p:nvPr/>
          </p:nvSpPr>
          <p:spPr>
            <a:xfrm rot="2700000">
              <a:off x="6374818" y="2330914"/>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a:p>
          </p:txBody>
        </p:sp>
        <p:sp>
          <p:nvSpPr>
            <p:cNvPr id="32" name="Graphic 3">
              <a:extLst>
                <a:ext uri="{FF2B5EF4-FFF2-40B4-BE49-F238E27FC236}">
                  <a16:creationId xmlns:a16="http://schemas.microsoft.com/office/drawing/2014/main" id="{6A2C120C-4E53-4D7C-91E8-420768E4BF9B}"/>
                </a:ext>
              </a:extLst>
            </p:cNvPr>
            <p:cNvSpPr/>
            <p:nvPr userDrawn="1"/>
          </p:nvSpPr>
          <p:spPr>
            <a:xfrm rot="13500000">
              <a:off x="8749686" y="2642478"/>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dirty="0"/>
            </a:p>
          </p:txBody>
        </p:sp>
        <p:sp>
          <p:nvSpPr>
            <p:cNvPr id="33" name="Graphic 3">
              <a:extLst>
                <a:ext uri="{FF2B5EF4-FFF2-40B4-BE49-F238E27FC236}">
                  <a16:creationId xmlns:a16="http://schemas.microsoft.com/office/drawing/2014/main" id="{E95C94CA-F2FD-4543-A9C3-B15FAD64980B}"/>
                </a:ext>
              </a:extLst>
            </p:cNvPr>
            <p:cNvSpPr/>
            <p:nvPr userDrawn="1"/>
          </p:nvSpPr>
          <p:spPr>
            <a:xfrm rot="2700000">
              <a:off x="11131966" y="2320542"/>
              <a:ext cx="1915613" cy="1915613"/>
            </a:xfrm>
            <a:custGeom>
              <a:avLst/>
              <a:gdLst>
                <a:gd name="connsiteX0" fmla="*/ -51 w 2995168"/>
                <a:gd name="connsiteY0" fmla="*/ 2995118 h 2995168"/>
                <a:gd name="connsiteX1" fmla="*/ 713289 w 2995168"/>
                <a:gd name="connsiteY1" fmla="*/ 2995118 h 2995168"/>
                <a:gd name="connsiteX2" fmla="*/ 2995118 w 2995168"/>
                <a:gd name="connsiteY2" fmla="*/ 713289 h 2995168"/>
                <a:gd name="connsiteX3" fmla="*/ 2995118 w 2995168"/>
                <a:gd name="connsiteY3" fmla="*/ 713289 h 2995168"/>
                <a:gd name="connsiteX4" fmla="*/ 2995118 w 2995168"/>
                <a:gd name="connsiteY4" fmla="*/ -51 h 2995168"/>
                <a:gd name="connsiteX5" fmla="*/ -51 w 2995168"/>
                <a:gd name="connsiteY5" fmla="*/ 2995118 h 299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168" h="2995168">
                  <a:moveTo>
                    <a:pt x="-51" y="2995118"/>
                  </a:moveTo>
                  <a:lnTo>
                    <a:pt x="713289" y="2995118"/>
                  </a:lnTo>
                  <a:cubicBezTo>
                    <a:pt x="713289" y="1734955"/>
                    <a:pt x="1734955" y="713289"/>
                    <a:pt x="2995118" y="713289"/>
                  </a:cubicBezTo>
                  <a:lnTo>
                    <a:pt x="2995118" y="713289"/>
                  </a:lnTo>
                  <a:lnTo>
                    <a:pt x="2995118" y="-51"/>
                  </a:lnTo>
                  <a:cubicBezTo>
                    <a:pt x="1340684" y="-51"/>
                    <a:pt x="-51" y="1340684"/>
                    <a:pt x="-51" y="2995118"/>
                  </a:cubicBezTo>
                </a:path>
              </a:pathLst>
            </a:custGeom>
            <a:grpFill/>
            <a:ln w="4291" cap="flat">
              <a:noFill/>
              <a:prstDash val="solid"/>
              <a:miter/>
            </a:ln>
          </p:spPr>
          <p:txBody>
            <a:bodyPr rtlCol="0" anchor="ctr"/>
            <a:lstStyle/>
            <a:p>
              <a:endParaRPr lang="en-GB" dirty="0"/>
            </a:p>
          </p:txBody>
        </p:sp>
      </p:grpSp>
      <p:sp>
        <p:nvSpPr>
          <p:cNvPr id="3" name="Tijdelijke aanduiding voor voettekst 2">
            <a:extLst>
              <a:ext uri="{FF2B5EF4-FFF2-40B4-BE49-F238E27FC236}">
                <a16:creationId xmlns:a16="http://schemas.microsoft.com/office/drawing/2014/main" id="{3650A98E-55EC-485D-B218-F494F76EC3C5}"/>
              </a:ext>
            </a:extLst>
          </p:cNvPr>
          <p:cNvSpPr>
            <a:spLocks noGrp="1"/>
          </p:cNvSpPr>
          <p:nvPr>
            <p:ph type="ftr" sz="quarter" idx="19"/>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A16B51E7-0FC1-41CA-9BCB-F5095E1C0070}"/>
              </a:ext>
            </a:extLst>
          </p:cNvPr>
          <p:cNvSpPr>
            <a:spLocks noGrp="1"/>
          </p:cNvSpPr>
          <p:nvPr>
            <p:ph type="sldNum" sz="quarter" idx="20"/>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2365928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tmplLst>
          <p:tmpl>
            <p:tnLst>
              <p:par>
                <p:cTn presetID="10" presetClass="entr" presetSubtype="0" fill="hold" nodeType="withEffect">
                  <p:stCondLst>
                    <p:cond delay="250"/>
                  </p:stCondLst>
                  <p:childTnLst>
                    <p:set>
                      <p:cBhvr>
                        <p:cTn dur="1" fill="hold">
                          <p:stCondLst>
                            <p:cond delay="0"/>
                          </p:stCondLst>
                        </p:cTn>
                        <p:tgtEl>
                          <p:spTgt spid="38"/>
                        </p:tgtEl>
                        <p:attrNameLst>
                          <p:attrName>style.visibility</p:attrName>
                        </p:attrNameLst>
                      </p:cBhvr>
                      <p:to>
                        <p:strVal val="visible"/>
                      </p:to>
                    </p:set>
                    <p:animEffect transition="in" filter="fade">
                      <p:cBhvr>
                        <p:cTn dur="500"/>
                        <p:tgtEl>
                          <p:spTgt spid="38"/>
                        </p:tgtEl>
                      </p:cBhvr>
                    </p:animEffect>
                  </p:childTnLst>
                </p:cTn>
              </p:par>
            </p:tnLst>
          </p:tmpl>
        </p:tmplLst>
      </p:bldP>
      <p:bldP spid="41" grpId="0">
        <p:tmplLst>
          <p:tmpl>
            <p:tnLst>
              <p:par>
                <p:cTn presetID="10" presetClass="entr" presetSubtype="0"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Effect transition="in" filter="fade">
                      <p:cBhvr>
                        <p:cTn dur="500"/>
                        <p:tgtEl>
                          <p:spTgt spid="41"/>
                        </p:tgtEl>
                      </p:cBhvr>
                    </p:animEffect>
                  </p:childTnLst>
                </p:cTn>
              </p:par>
            </p:tnLst>
          </p:tmpl>
        </p:tmplLst>
      </p:bldP>
      <p:bldP spid="43" grpId="0">
        <p:tmplLst>
          <p:tmpl>
            <p:tnLst>
              <p:par>
                <p:cTn presetID="10" presetClass="entr" presetSubtype="0" fill="hold" nodeType="withEffect">
                  <p:stCondLst>
                    <p:cond delay="25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5" grpId="0">
        <p:tmplLst>
          <p:tmpl>
            <p:tnLst>
              <p:par>
                <p:cTn presetID="10" presetClass="entr" presetSubtype="0" fill="hold" nodeType="withEffect">
                  <p:stCondLst>
                    <p:cond delay="25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p:tmplLst>
          <p:tmpl>
            <p:tnLst>
              <p:par>
                <p:cTn presetID="10" presetClass="entr" presetSubtype="0" fill="hold" nodeType="withEffect">
                  <p:stCondLst>
                    <p:cond delay="25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Movie">
    <p:spTree>
      <p:nvGrpSpPr>
        <p:cNvPr id="1" name=""/>
        <p:cNvGrpSpPr/>
        <p:nvPr/>
      </p:nvGrpSpPr>
      <p:grpSpPr>
        <a:xfrm>
          <a:off x="0" y="0"/>
          <a:ext cx="0" cy="0"/>
          <a:chOff x="0" y="0"/>
          <a:chExt cx="0" cy="0"/>
        </a:xfrm>
      </p:grpSpPr>
      <p:sp>
        <p:nvSpPr>
          <p:cNvPr id="3" name="Tijdelijke aanduiding voor media 2"/>
          <p:cNvSpPr>
            <a:spLocks noGrp="1"/>
          </p:cNvSpPr>
          <p:nvPr>
            <p:ph type="media" sz="quarter" idx="10"/>
          </p:nvPr>
        </p:nvSpPr>
        <p:spPr>
          <a:xfrm>
            <a:off x="0" y="0"/>
            <a:ext cx="12192000" cy="6858000"/>
          </a:xfrm>
        </p:spPr>
        <p:txBody>
          <a:bodyPr rtlCol="0" anchor="ctr">
            <a:noAutofit/>
          </a:bodyPr>
          <a:lstStyle>
            <a:lvl1pPr marL="0" indent="0" algn="ctr">
              <a:buNone/>
              <a:defRPr sz="1600" b="0" baseline="0"/>
            </a:lvl1pPr>
          </a:lstStyle>
          <a:p>
            <a:pPr lvl="0"/>
            <a:r>
              <a:rPr lang="en-US" noProof="0"/>
              <a:t>Click icon to add media</a:t>
            </a:r>
            <a:endParaRPr lang="nl-BE" noProof="0" dirty="0"/>
          </a:p>
        </p:txBody>
      </p:sp>
      <p:sp>
        <p:nvSpPr>
          <p:cNvPr id="8" name="Tijdelijke aanduiding voor tekst 7"/>
          <p:cNvSpPr>
            <a:spLocks noGrp="1"/>
          </p:cNvSpPr>
          <p:nvPr>
            <p:ph type="body" sz="quarter" idx="11"/>
          </p:nvPr>
        </p:nvSpPr>
        <p:spPr>
          <a:xfrm>
            <a:off x="5556609" y="3330933"/>
            <a:ext cx="1078786" cy="1078784"/>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lgn="ctr">
              <a:buNone/>
              <a:defRPr sz="133">
                <a:noFill/>
              </a:defRPr>
            </a:lvl1pPr>
          </a:lstStyle>
          <a:p>
            <a:pPr lvl="0"/>
            <a:r>
              <a:rPr lang="en-US"/>
              <a:t>Click to edit Master text styles</a:t>
            </a:r>
          </a:p>
        </p:txBody>
      </p:sp>
      <p:sp>
        <p:nvSpPr>
          <p:cNvPr id="10" name="Tijdelijke aanduiding voor tekst 9"/>
          <p:cNvSpPr>
            <a:spLocks noGrp="1"/>
          </p:cNvSpPr>
          <p:nvPr>
            <p:ph type="body" sz="quarter" idx="12"/>
          </p:nvPr>
        </p:nvSpPr>
        <p:spPr>
          <a:xfrm>
            <a:off x="420284" y="3870325"/>
            <a:ext cx="5040000" cy="36000"/>
          </a:xfrm>
          <a:solidFill>
            <a:schemeClr val="accent2"/>
          </a:solidFill>
        </p:spPr>
        <p:txBody>
          <a:bodyPr/>
          <a:lstStyle>
            <a:lvl1pPr marL="0" indent="0">
              <a:buNone/>
              <a:defRPr sz="133">
                <a:noFill/>
              </a:defRPr>
            </a:lvl1pPr>
            <a:lvl2pPr marL="457189" indent="0">
              <a:buNone/>
              <a:defRPr/>
            </a:lvl2pPr>
          </a:lstStyle>
          <a:p>
            <a:pPr lvl="0"/>
            <a:r>
              <a:rPr lang="en-US"/>
              <a:t>Click to edit Master text styles</a:t>
            </a:r>
          </a:p>
        </p:txBody>
      </p:sp>
      <p:sp>
        <p:nvSpPr>
          <p:cNvPr id="11" name="Tijdelijke aanduiding voor tekst 9"/>
          <p:cNvSpPr>
            <a:spLocks noGrp="1"/>
          </p:cNvSpPr>
          <p:nvPr>
            <p:ph type="body" sz="quarter" idx="13"/>
          </p:nvPr>
        </p:nvSpPr>
        <p:spPr>
          <a:xfrm>
            <a:off x="6731716" y="3870325"/>
            <a:ext cx="5040000" cy="36000"/>
          </a:xfrm>
          <a:solidFill>
            <a:schemeClr val="accent2"/>
          </a:solidFill>
        </p:spPr>
        <p:txBody>
          <a:bodyPr/>
          <a:lstStyle>
            <a:lvl1pPr marL="0" indent="0">
              <a:buNone/>
              <a:defRPr sz="133">
                <a:noFill/>
              </a:defRPr>
            </a:lvl1pPr>
            <a:lvl2pPr marL="457189" indent="0">
              <a:buNone/>
              <a:defRPr/>
            </a:lvl2pPr>
          </a:lstStyle>
          <a:p>
            <a:pPr lvl="0"/>
            <a:r>
              <a:rPr lang="en-US"/>
              <a:t>Click to edit Master text styles</a:t>
            </a:r>
          </a:p>
        </p:txBody>
      </p:sp>
      <p:sp>
        <p:nvSpPr>
          <p:cNvPr id="39" name="Rechthoek 38">
            <a:extLst>
              <a:ext uri="{FF2B5EF4-FFF2-40B4-BE49-F238E27FC236}">
                <a16:creationId xmlns:a16="http://schemas.microsoft.com/office/drawing/2014/main" id="{1CEEFD70-3144-4EA9-A60E-E1C7E6D18F62}"/>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40" name="Rechte verbindingslijn 39">
            <a:extLst>
              <a:ext uri="{FF2B5EF4-FFF2-40B4-BE49-F238E27FC236}">
                <a16:creationId xmlns:a16="http://schemas.microsoft.com/office/drawing/2014/main" id="{47A48878-0506-4E44-8B23-5D499E8B78FA}"/>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41" name="Tekstvak 40">
            <a:extLst>
              <a:ext uri="{FF2B5EF4-FFF2-40B4-BE49-F238E27FC236}">
                <a16:creationId xmlns:a16="http://schemas.microsoft.com/office/drawing/2014/main" id="{623AB98F-8702-466D-99CA-0D09D5974147}"/>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42" name="Groep 41">
            <a:extLst>
              <a:ext uri="{FF2B5EF4-FFF2-40B4-BE49-F238E27FC236}">
                <a16:creationId xmlns:a16="http://schemas.microsoft.com/office/drawing/2014/main" id="{B0D1267B-CF7E-4450-8B48-59FA4F5A53D3}"/>
              </a:ext>
            </a:extLst>
          </p:cNvPr>
          <p:cNvGrpSpPr/>
          <p:nvPr/>
        </p:nvGrpSpPr>
        <p:grpSpPr>
          <a:xfrm>
            <a:off x="-1425490" y="845069"/>
            <a:ext cx="250379" cy="249771"/>
            <a:chOff x="-706740" y="145633"/>
            <a:chExt cx="250379" cy="249771"/>
          </a:xfrm>
        </p:grpSpPr>
        <p:sp>
          <p:nvSpPr>
            <p:cNvPr id="43" name="Rechthoek 42">
              <a:extLst>
                <a:ext uri="{FF2B5EF4-FFF2-40B4-BE49-F238E27FC236}">
                  <a16:creationId xmlns:a16="http://schemas.microsoft.com/office/drawing/2014/main" id="{F1DBA30E-3AC9-4705-972F-432EBD384C4D}"/>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4" name="Gelijkbenige driehoek 128">
              <a:extLst>
                <a:ext uri="{FF2B5EF4-FFF2-40B4-BE49-F238E27FC236}">
                  <a16:creationId xmlns:a16="http://schemas.microsoft.com/office/drawing/2014/main" id="{72AE8D8B-3EA6-431B-9403-F78DC77A59CF}"/>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5" name="Ovaal 44">
              <a:extLst>
                <a:ext uri="{FF2B5EF4-FFF2-40B4-BE49-F238E27FC236}">
                  <a16:creationId xmlns:a16="http://schemas.microsoft.com/office/drawing/2014/main" id="{2598491F-B788-4AAC-BFBC-1A5E9F22C49E}"/>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46" name="Rechthoek 45">
              <a:extLst>
                <a:ext uri="{FF2B5EF4-FFF2-40B4-BE49-F238E27FC236}">
                  <a16:creationId xmlns:a16="http://schemas.microsoft.com/office/drawing/2014/main" id="{7D1AA91D-8A0E-418A-8A15-568986FDDCC3}"/>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47" name="Rechte verbindingslijn 46">
              <a:extLst>
                <a:ext uri="{FF2B5EF4-FFF2-40B4-BE49-F238E27FC236}">
                  <a16:creationId xmlns:a16="http://schemas.microsoft.com/office/drawing/2014/main" id="{C2DCC380-E160-4F6C-BEC6-78AA43095A5C}"/>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48" name="Tekstvak 47">
            <a:extLst>
              <a:ext uri="{FF2B5EF4-FFF2-40B4-BE49-F238E27FC236}">
                <a16:creationId xmlns:a16="http://schemas.microsoft.com/office/drawing/2014/main" id="{8A5F2955-E614-440D-B2FE-3A6BD25106DF}"/>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49" name="Tekstvak 48">
            <a:extLst>
              <a:ext uri="{FF2B5EF4-FFF2-40B4-BE49-F238E27FC236}">
                <a16:creationId xmlns:a16="http://schemas.microsoft.com/office/drawing/2014/main" id="{165C8EA5-BEC1-4AC0-9E6E-7C362681A42B}"/>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50" name="Groep 49">
            <a:extLst>
              <a:ext uri="{FF2B5EF4-FFF2-40B4-BE49-F238E27FC236}">
                <a16:creationId xmlns:a16="http://schemas.microsoft.com/office/drawing/2014/main" id="{439C349D-FD25-444B-ADF5-07B4C9FA4994}"/>
              </a:ext>
            </a:extLst>
          </p:cNvPr>
          <p:cNvGrpSpPr/>
          <p:nvPr/>
        </p:nvGrpSpPr>
        <p:grpSpPr>
          <a:xfrm>
            <a:off x="-1073403" y="845068"/>
            <a:ext cx="252000" cy="216024"/>
            <a:chOff x="-932185" y="5325334"/>
            <a:chExt cx="252000" cy="216024"/>
          </a:xfrm>
        </p:grpSpPr>
        <p:sp>
          <p:nvSpPr>
            <p:cNvPr id="51" name="Rechthoek 50">
              <a:extLst>
                <a:ext uri="{FF2B5EF4-FFF2-40B4-BE49-F238E27FC236}">
                  <a16:creationId xmlns:a16="http://schemas.microsoft.com/office/drawing/2014/main" id="{F59DC191-F09F-45B3-9BB0-F21AFF78FAD3}"/>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52" name="Groep 51">
              <a:extLst>
                <a:ext uri="{FF2B5EF4-FFF2-40B4-BE49-F238E27FC236}">
                  <a16:creationId xmlns:a16="http://schemas.microsoft.com/office/drawing/2014/main" id="{B44A1207-8AD5-4602-BAE4-3023555ACD87}"/>
                </a:ext>
              </a:extLst>
            </p:cNvPr>
            <p:cNvGrpSpPr/>
            <p:nvPr userDrawn="1"/>
          </p:nvGrpSpPr>
          <p:grpSpPr>
            <a:xfrm>
              <a:off x="-925512" y="5325900"/>
              <a:ext cx="241658" cy="36000"/>
              <a:chOff x="-964435" y="5325900"/>
              <a:chExt cx="241658" cy="36000"/>
            </a:xfrm>
          </p:grpSpPr>
          <p:sp>
            <p:nvSpPr>
              <p:cNvPr id="61" name="Rechthoek 60">
                <a:extLst>
                  <a:ext uri="{FF2B5EF4-FFF2-40B4-BE49-F238E27FC236}">
                    <a16:creationId xmlns:a16="http://schemas.microsoft.com/office/drawing/2014/main" id="{88AA076E-194A-4EBE-BAC8-8B383661080A}"/>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2" name="Rechthoek 61">
                <a:extLst>
                  <a:ext uri="{FF2B5EF4-FFF2-40B4-BE49-F238E27FC236}">
                    <a16:creationId xmlns:a16="http://schemas.microsoft.com/office/drawing/2014/main" id="{42B11435-5F52-4C73-8B92-12B5195452DE}"/>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3" name="Rechthoek 62">
                <a:extLst>
                  <a:ext uri="{FF2B5EF4-FFF2-40B4-BE49-F238E27FC236}">
                    <a16:creationId xmlns:a16="http://schemas.microsoft.com/office/drawing/2014/main" id="{6C4E4824-E5D8-4022-8A19-72A2BD7F47CD}"/>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4" name="Rechthoek 63">
                <a:extLst>
                  <a:ext uri="{FF2B5EF4-FFF2-40B4-BE49-F238E27FC236}">
                    <a16:creationId xmlns:a16="http://schemas.microsoft.com/office/drawing/2014/main" id="{BAA2F00B-5D96-4B88-9CBE-560B618B43EB}"/>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5" name="Rechthoek 64">
                <a:extLst>
                  <a:ext uri="{FF2B5EF4-FFF2-40B4-BE49-F238E27FC236}">
                    <a16:creationId xmlns:a16="http://schemas.microsoft.com/office/drawing/2014/main" id="{E8D6AFBE-D8C3-4DDE-A9C6-E8DB9C836092}"/>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6" name="Rechthoek 65">
                <a:extLst>
                  <a:ext uri="{FF2B5EF4-FFF2-40B4-BE49-F238E27FC236}">
                    <a16:creationId xmlns:a16="http://schemas.microsoft.com/office/drawing/2014/main" id="{8D5B997B-A680-4C98-B4F9-FE04AC85B48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7" name="Rechthoek 66">
                <a:extLst>
                  <a:ext uri="{FF2B5EF4-FFF2-40B4-BE49-F238E27FC236}">
                    <a16:creationId xmlns:a16="http://schemas.microsoft.com/office/drawing/2014/main" id="{DEE1CAE3-36E4-40A8-9499-8DB7787C38B1}"/>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53" name="Groep 52">
              <a:extLst>
                <a:ext uri="{FF2B5EF4-FFF2-40B4-BE49-F238E27FC236}">
                  <a16:creationId xmlns:a16="http://schemas.microsoft.com/office/drawing/2014/main" id="{84329183-47F3-4535-A333-F2D18CB3EE83}"/>
                </a:ext>
              </a:extLst>
            </p:cNvPr>
            <p:cNvGrpSpPr/>
            <p:nvPr userDrawn="1"/>
          </p:nvGrpSpPr>
          <p:grpSpPr>
            <a:xfrm>
              <a:off x="-925512" y="5502593"/>
              <a:ext cx="241658" cy="36000"/>
              <a:chOff x="-964435" y="5325900"/>
              <a:chExt cx="241658" cy="36000"/>
            </a:xfrm>
          </p:grpSpPr>
          <p:sp>
            <p:nvSpPr>
              <p:cNvPr id="54" name="Rechthoek 53">
                <a:extLst>
                  <a:ext uri="{FF2B5EF4-FFF2-40B4-BE49-F238E27FC236}">
                    <a16:creationId xmlns:a16="http://schemas.microsoft.com/office/drawing/2014/main" id="{49C7A26D-E842-4193-A36B-F199F01096E4}"/>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5" name="Rechthoek 54">
                <a:extLst>
                  <a:ext uri="{FF2B5EF4-FFF2-40B4-BE49-F238E27FC236}">
                    <a16:creationId xmlns:a16="http://schemas.microsoft.com/office/drawing/2014/main" id="{334E94C0-FA9A-4D4D-93AE-45DB4DE0E8EB}"/>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6" name="Rechthoek 55">
                <a:extLst>
                  <a:ext uri="{FF2B5EF4-FFF2-40B4-BE49-F238E27FC236}">
                    <a16:creationId xmlns:a16="http://schemas.microsoft.com/office/drawing/2014/main" id="{2DB6F8D9-454C-482B-A42B-26567DFA216B}"/>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7" name="Rechthoek 56">
                <a:extLst>
                  <a:ext uri="{FF2B5EF4-FFF2-40B4-BE49-F238E27FC236}">
                    <a16:creationId xmlns:a16="http://schemas.microsoft.com/office/drawing/2014/main" id="{0C8EFB32-A6A1-4844-B8CF-B16A4CFA3E27}"/>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8" name="Rechthoek 57">
                <a:extLst>
                  <a:ext uri="{FF2B5EF4-FFF2-40B4-BE49-F238E27FC236}">
                    <a16:creationId xmlns:a16="http://schemas.microsoft.com/office/drawing/2014/main" id="{B5BC8841-77D1-4FE2-9AFD-922920A7AB8A}"/>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9" name="Rechthoek 58">
                <a:extLst>
                  <a:ext uri="{FF2B5EF4-FFF2-40B4-BE49-F238E27FC236}">
                    <a16:creationId xmlns:a16="http://schemas.microsoft.com/office/drawing/2014/main" id="{81CBC155-3249-4821-9667-F42EE811689E}"/>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0" name="Rechthoek 59">
                <a:extLst>
                  <a:ext uri="{FF2B5EF4-FFF2-40B4-BE49-F238E27FC236}">
                    <a16:creationId xmlns:a16="http://schemas.microsoft.com/office/drawing/2014/main" id="{C5893313-C022-4420-822F-75B9D3745A88}"/>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68" name="Tekstvak 67">
            <a:extLst>
              <a:ext uri="{FF2B5EF4-FFF2-40B4-BE49-F238E27FC236}">
                <a16:creationId xmlns:a16="http://schemas.microsoft.com/office/drawing/2014/main" id="{40B4AD63-82E1-4FEA-809A-336B41E5B2E7}"/>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178145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xit" presetSubtype="0" fill="hold" grpId="0" nodeType="clickEffect">
                                  <p:stCondLst>
                                    <p:cond delay="0"/>
                                  </p:stCondLst>
                                  <p:childTnLst>
                                    <p:anim calcmode="lin" valueType="num">
                                      <p:cBhvr>
                                        <p:cTn id="6" dur="500"/>
                                        <p:tgtEl>
                                          <p:spTgt spid="8"/>
                                        </p:tgtEl>
                                        <p:attrNameLst>
                                          <p:attrName>ppt_w</p:attrName>
                                        </p:attrNameLst>
                                      </p:cBhvr>
                                      <p:tavLst>
                                        <p:tav tm="0">
                                          <p:val>
                                            <p:strVal val="ppt_w"/>
                                          </p:val>
                                        </p:tav>
                                        <p:tav tm="100000">
                                          <p:val>
                                            <p:fltVal val="0"/>
                                          </p:val>
                                        </p:tav>
                                      </p:tavLst>
                                    </p:anim>
                                    <p:anim calcmode="lin" valueType="num">
                                      <p:cBhvr>
                                        <p:cTn id="7" dur="500"/>
                                        <p:tgtEl>
                                          <p:spTgt spid="8"/>
                                        </p:tgtEl>
                                        <p:attrNameLst>
                                          <p:attrName>ppt_h</p:attrName>
                                        </p:attrNameLst>
                                      </p:cBhvr>
                                      <p:tavLst>
                                        <p:tav tm="0">
                                          <p:val>
                                            <p:strVal val="ppt_h"/>
                                          </p:val>
                                        </p:tav>
                                        <p:tav tm="100000">
                                          <p:val>
                                            <p:fltVal val="0"/>
                                          </p:val>
                                        </p:tav>
                                      </p:tavLst>
                                    </p:anim>
                                    <p:anim calcmode="lin" valueType="num">
                                      <p:cBhvr>
                                        <p:cTn id="8" dur="500"/>
                                        <p:tgtEl>
                                          <p:spTgt spid="8"/>
                                        </p:tgtEl>
                                        <p:attrNameLst>
                                          <p:attrName>style.rotation</p:attrName>
                                        </p:attrNameLst>
                                      </p:cBhvr>
                                      <p:tavLst>
                                        <p:tav tm="0">
                                          <p:val>
                                            <p:fltVal val="0"/>
                                          </p:val>
                                        </p:tav>
                                        <p:tav tm="100000">
                                          <p:val>
                                            <p:fltVal val="90"/>
                                          </p:val>
                                        </p:tav>
                                      </p:tavLst>
                                    </p:anim>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22" presetClass="exit" presetSubtype="2" fill="hold" grpId="0" nodeType="withEffect">
                                  <p:stCondLst>
                                    <p:cond delay="0"/>
                                  </p:stCondLst>
                                  <p:childTnLst>
                                    <p:animEffect transition="out" filter="wipe(right)">
                                      <p:cBhvr>
                                        <p:cTn id="12" dur="500"/>
                                        <p:tgtEl>
                                          <p:spTgt spid="10"/>
                                        </p:tgtEl>
                                      </p:cBhvr>
                                    </p:animEffect>
                                    <p:set>
                                      <p:cBhvr>
                                        <p:cTn id="13" dur="1" fill="hold">
                                          <p:stCondLst>
                                            <p:cond delay="499"/>
                                          </p:stCondLst>
                                        </p:cTn>
                                        <p:tgtEl>
                                          <p:spTgt spid="10"/>
                                        </p:tgtEl>
                                        <p:attrNameLst>
                                          <p:attrName>style.visibility</p:attrName>
                                        </p:attrNameLst>
                                      </p:cBhvr>
                                      <p:to>
                                        <p:strVal val="hidden"/>
                                      </p:to>
                                    </p:set>
                                  </p:childTnLst>
                                </p:cTn>
                              </p:par>
                              <p:par>
                                <p:cTn id="14" presetID="22" presetClass="exit" presetSubtype="8" fill="hold" grpId="0" nodeType="withEffect">
                                  <p:stCondLst>
                                    <p:cond delay="0"/>
                                  </p:stCondLst>
                                  <p:childTnLst>
                                    <p:animEffect transition="out" filter="wipe(left)">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animBg="1">
        <p:tmplLst>
          <p:tmpl>
            <p:tnLst>
              <p:par>
                <p:cTn presetID="31" presetClass="exit" presetSubtype="0" fill="hold" nodeType="clickEffect">
                  <p:stCondLst>
                    <p:cond delay="0"/>
                  </p:stCondLst>
                  <p:childTnLst>
                    <p:anim calcmode="lin" valueType="num">
                      <p:cBhvr>
                        <p:cTn dur="500"/>
                        <p:tgtEl>
                          <p:spTgt spid="8"/>
                        </p:tgtEl>
                        <p:attrNameLst>
                          <p:attrName>ppt_w</p:attrName>
                        </p:attrNameLst>
                      </p:cBhvr>
                      <p:tavLst>
                        <p:tav tm="0">
                          <p:val>
                            <p:strVal val="ppt_w"/>
                          </p:val>
                        </p:tav>
                        <p:tav tm="100000">
                          <p:val>
                            <p:fltVal val="0"/>
                          </p:val>
                        </p:tav>
                      </p:tavLst>
                    </p:anim>
                    <p:anim calcmode="lin" valueType="num">
                      <p:cBhvr>
                        <p:cTn dur="500"/>
                        <p:tgtEl>
                          <p:spTgt spid="8"/>
                        </p:tgtEl>
                        <p:attrNameLst>
                          <p:attrName>ppt_h</p:attrName>
                        </p:attrNameLst>
                      </p:cBhvr>
                      <p:tavLst>
                        <p:tav tm="0">
                          <p:val>
                            <p:strVal val="ppt_h"/>
                          </p:val>
                        </p:tav>
                        <p:tav tm="100000">
                          <p:val>
                            <p:fltVal val="0"/>
                          </p:val>
                        </p:tav>
                      </p:tavLst>
                    </p:anim>
                    <p:anim calcmode="lin" valueType="num">
                      <p:cBhvr>
                        <p:cTn dur="500"/>
                        <p:tgtEl>
                          <p:spTgt spid="8"/>
                        </p:tgtEl>
                        <p:attrNameLst>
                          <p:attrName>style.rotation</p:attrName>
                        </p:attrNameLst>
                      </p:cBhvr>
                      <p:tavLst>
                        <p:tav tm="0">
                          <p:val>
                            <p:fltVal val="0"/>
                          </p:val>
                        </p:tav>
                        <p:tav tm="100000">
                          <p:val>
                            <p:fltVal val="90"/>
                          </p:val>
                        </p:tav>
                      </p:tavLst>
                    </p:anim>
                    <p:animEffect transition="out" filter="fade">
                      <p:cBhvr>
                        <p:cTn dur="500"/>
                        <p:tgtEl>
                          <p:spTgt spid="8"/>
                        </p:tgtEl>
                      </p:cBhvr>
                    </p:animEffect>
                    <p:set>
                      <p:cBhvr>
                        <p:cTn dur="1" fill="hold">
                          <p:stCondLst>
                            <p:cond delay="499"/>
                          </p:stCondLst>
                        </p:cTn>
                        <p:tgtEl>
                          <p:spTgt spid="8"/>
                        </p:tgtEl>
                        <p:attrNameLst>
                          <p:attrName>style.visibility</p:attrName>
                        </p:attrNameLst>
                      </p:cBhvr>
                      <p:to>
                        <p:strVal val="hidden"/>
                      </p:to>
                    </p:set>
                  </p:childTnLst>
                </p:cTn>
              </p:par>
            </p:tnLst>
          </p:tmpl>
        </p:tmplLst>
      </p:bldP>
      <p:bldP spid="10" grpId="0" animBg="1">
        <p:tmplLst>
          <p:tmpl>
            <p:tnLst>
              <p:par>
                <p:cTn presetID="22" presetClass="exit" presetSubtype="2" fill="hold" nodeType="withEffect">
                  <p:stCondLst>
                    <p:cond delay="0"/>
                  </p:stCondLst>
                  <p:childTnLst>
                    <p:animEffect transition="out" filter="wipe(right)">
                      <p:cBhvr>
                        <p:cTn dur="500"/>
                        <p:tgtEl>
                          <p:spTgt spid="10"/>
                        </p:tgtEl>
                      </p:cBhvr>
                    </p:animEffect>
                    <p:set>
                      <p:cBhvr>
                        <p:cTn dur="1" fill="hold">
                          <p:stCondLst>
                            <p:cond delay="499"/>
                          </p:stCondLst>
                        </p:cTn>
                        <p:tgtEl>
                          <p:spTgt spid="10"/>
                        </p:tgtEl>
                        <p:attrNameLst>
                          <p:attrName>style.visibility</p:attrName>
                        </p:attrNameLst>
                      </p:cBhvr>
                      <p:to>
                        <p:strVal val="hidden"/>
                      </p:to>
                    </p:set>
                  </p:childTnLst>
                </p:cTn>
              </p:par>
            </p:tnLst>
          </p:tmpl>
        </p:tmplLst>
      </p:bldP>
      <p:bldP spid="11" grpId="0" animBg="1">
        <p:tmplLst>
          <p:tmpl>
            <p:tnLst>
              <p:par>
                <p:cTn presetID="22" presetClass="exit" presetSubtype="8" fill="hold" nodeType="withEffect">
                  <p:stCondLst>
                    <p:cond delay="0"/>
                  </p:stCondLst>
                  <p:childTnLst>
                    <p:animEffect transition="out" filter="wipe(left)">
                      <p:cBhvr>
                        <p:cTn dur="500"/>
                        <p:tgtEl>
                          <p:spTgt spid="11"/>
                        </p:tgtEl>
                      </p:cBhvr>
                    </p:animEffect>
                    <p:set>
                      <p:cBhvr>
                        <p:cTn dur="1" fill="hold">
                          <p:stCondLst>
                            <p:cond delay="499"/>
                          </p:stCondLst>
                        </p:cTn>
                        <p:tgtEl>
                          <p:spTgt spid="11"/>
                        </p:tgtEl>
                        <p:attrNameLst>
                          <p:attrName>style.visibility</p:attrName>
                        </p:attrNameLst>
                      </p:cBhvr>
                      <p:to>
                        <p:strVal val="hidden"/>
                      </p:to>
                    </p:set>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B3013-47ED-4FAD-A566-5139DC3153F4}"/>
              </a:ext>
            </a:extLst>
          </p:cNvPr>
          <p:cNvGraphicFramePr>
            <a:graphicFrameLocks noChangeAspect="1"/>
          </p:cNvGraphicFramePr>
          <p:nvPr>
            <p:custDataLst>
              <p:tags r:id="rId1"/>
            </p:custDataLst>
            <p:extLst>
              <p:ext uri="{D42A27DB-BD31-4B8C-83A1-F6EECF244321}">
                <p14:modId xmlns:p14="http://schemas.microsoft.com/office/powerpoint/2010/main" val="52729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Object 4" hidden="1">
                        <a:extLst>
                          <a:ext uri="{FF2B5EF4-FFF2-40B4-BE49-F238E27FC236}">
                            <a16:creationId xmlns:a16="http://schemas.microsoft.com/office/drawing/2014/main" id="{B88B3013-47ED-4FAD-A566-5139DC315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voettekst 2">
            <a:extLst>
              <a:ext uri="{FF2B5EF4-FFF2-40B4-BE49-F238E27FC236}">
                <a16:creationId xmlns:a16="http://schemas.microsoft.com/office/drawing/2014/main" id="{F25D3B4E-A54E-457D-8993-34E4AD67B236}"/>
              </a:ext>
            </a:extLst>
          </p:cNvPr>
          <p:cNvSpPr>
            <a:spLocks noGrp="1"/>
          </p:cNvSpPr>
          <p:nvPr>
            <p:ph type="ftr" sz="quarter" idx="10"/>
          </p:nvPr>
        </p:nvSpPr>
        <p:spPr/>
        <p:txBody>
          <a:bodyPr/>
          <a:lstStyle/>
          <a:p>
            <a:r>
              <a:rPr lang="en-GB"/>
              <a:t>Template made by Smartpresentations</a:t>
            </a:r>
            <a:endParaRPr lang="en-GB" dirty="0"/>
          </a:p>
        </p:txBody>
      </p:sp>
      <p:sp>
        <p:nvSpPr>
          <p:cNvPr id="4" name="Tijdelijke aanduiding voor dianummer 3">
            <a:extLst>
              <a:ext uri="{FF2B5EF4-FFF2-40B4-BE49-F238E27FC236}">
                <a16:creationId xmlns:a16="http://schemas.microsoft.com/office/drawing/2014/main" id="{686B5BC1-541B-4C99-995E-687BF5B44BE3}"/>
              </a:ext>
            </a:extLst>
          </p:cNvPr>
          <p:cNvSpPr>
            <a:spLocks noGrp="1"/>
          </p:cNvSpPr>
          <p:nvPr>
            <p:ph type="sldNum" sz="quarter" idx="11"/>
          </p:nvPr>
        </p:nvSpPr>
        <p:spPr/>
        <p:txBody>
          <a:bodyPr/>
          <a:lstStyle/>
          <a:p>
            <a:fld id="{761B7991-791C-44D3-A34B-0516733EAC00}" type="slidenum">
              <a:rPr lang="en-GB" smtClean="0"/>
              <a:t>‹#›</a:t>
            </a:fld>
            <a:endParaRPr lang="en-GB" dirty="0"/>
          </a:p>
        </p:txBody>
      </p:sp>
    </p:spTree>
    <p:extLst>
      <p:ext uri="{BB962C8B-B14F-4D97-AF65-F5344CB8AC3E}">
        <p14:creationId xmlns:p14="http://schemas.microsoft.com/office/powerpoint/2010/main" val="37597481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3B2CE2-6E36-4B39-B81C-A871255F6909}"/>
              </a:ext>
            </a:extLst>
          </p:cNvPr>
          <p:cNvGraphicFramePr>
            <a:graphicFrameLocks noChangeAspect="1"/>
          </p:cNvGraphicFramePr>
          <p:nvPr>
            <p:custDataLst>
              <p:tags r:id="rId1"/>
            </p:custDataLst>
            <p:extLst>
              <p:ext uri="{D42A27DB-BD31-4B8C-83A1-F6EECF244321}">
                <p14:modId xmlns:p14="http://schemas.microsoft.com/office/powerpoint/2010/main" val="411432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AA3B2CE2-6E36-4B39-B81C-A871255F6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hoek 8">
            <a:extLst>
              <a:ext uri="{FF2B5EF4-FFF2-40B4-BE49-F238E27FC236}">
                <a16:creationId xmlns:a16="http://schemas.microsoft.com/office/drawing/2014/main" id="{28089973-667C-4261-A3F8-79E71E532240}"/>
              </a:ext>
            </a:extLst>
          </p:cNvPr>
          <p:cNvSpPr/>
          <p:nvPr/>
        </p:nvSpPr>
        <p:spPr>
          <a:xfrm rot="14837460">
            <a:off x="1109866" y="4496958"/>
            <a:ext cx="1810388" cy="4027195"/>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Vrije vorm: vorm 7">
            <a:extLst>
              <a:ext uri="{FF2B5EF4-FFF2-40B4-BE49-F238E27FC236}">
                <a16:creationId xmlns:a16="http://schemas.microsoft.com/office/drawing/2014/main" id="{229DEDC1-BA36-4BC1-AF5F-4E08D1D1F2DA}"/>
              </a:ext>
            </a:extLst>
          </p:cNvPr>
          <p:cNvSpPr/>
          <p:nvPr/>
        </p:nvSpPr>
        <p:spPr>
          <a:xfrm>
            <a:off x="6224337" y="1651889"/>
            <a:ext cx="7724891" cy="7724890"/>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5" name="Ondertitel 2">
            <a:extLst>
              <a:ext uri="{FF2B5EF4-FFF2-40B4-BE49-F238E27FC236}">
                <a16:creationId xmlns:a16="http://schemas.microsoft.com/office/drawing/2014/main" id="{6B075DAC-FE98-441F-91A3-5F8B55C8FA26}"/>
              </a:ext>
            </a:extLst>
          </p:cNvPr>
          <p:cNvSpPr>
            <a:spLocks noGrp="1"/>
          </p:cNvSpPr>
          <p:nvPr>
            <p:ph type="subTitle" idx="1"/>
          </p:nvPr>
        </p:nvSpPr>
        <p:spPr>
          <a:xfrm>
            <a:off x="676968" y="3989125"/>
            <a:ext cx="6365516" cy="1818117"/>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ekstvak 1">
            <a:extLst>
              <a:ext uri="{FF2B5EF4-FFF2-40B4-BE49-F238E27FC236}">
                <a16:creationId xmlns:a16="http://schemas.microsoft.com/office/drawing/2014/main" id="{771A229C-676B-44C4-A449-BC2C885A974B}"/>
              </a:ext>
            </a:extLst>
          </p:cNvPr>
          <p:cNvSpPr txBox="1"/>
          <p:nvPr/>
        </p:nvSpPr>
        <p:spPr>
          <a:xfrm>
            <a:off x="676968" y="921330"/>
            <a:ext cx="6365516" cy="2554545"/>
          </a:xfrm>
          <a:prstGeom prst="rect">
            <a:avLst/>
          </a:prstGeom>
          <a:noFill/>
        </p:spPr>
        <p:txBody>
          <a:bodyPr wrap="square" rtlCol="0">
            <a:spAutoFit/>
          </a:bodyPr>
          <a:lstStyle/>
          <a:p>
            <a:pPr algn="l">
              <a:lnSpc>
                <a:spcPts val="9600"/>
              </a:lnSpc>
            </a:pPr>
            <a:r>
              <a:rPr lang="en-GB" sz="9600" b="1" dirty="0">
                <a:gradFill>
                  <a:gsLst>
                    <a:gs pos="0">
                      <a:schemeClr val="accent1"/>
                    </a:gs>
                    <a:gs pos="100000">
                      <a:schemeClr val="accent2"/>
                    </a:gs>
                  </a:gsLst>
                  <a:lin ang="0" scaled="0"/>
                </a:gradFill>
              </a:rPr>
              <a:t>THANK YOU</a:t>
            </a:r>
          </a:p>
        </p:txBody>
      </p:sp>
    </p:spTree>
    <p:extLst>
      <p:ext uri="{BB962C8B-B14F-4D97-AF65-F5344CB8AC3E}">
        <p14:creationId xmlns:p14="http://schemas.microsoft.com/office/powerpoint/2010/main" val="704636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Subtitle 0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227932-C3A5-4BE2-B468-0B2D2E1D3C05}"/>
              </a:ext>
            </a:extLst>
          </p:cNvPr>
          <p:cNvGraphicFramePr>
            <a:graphicFrameLocks noChangeAspect="1"/>
          </p:cNvGraphicFramePr>
          <p:nvPr>
            <p:custDataLst>
              <p:tags r:id="rId1"/>
            </p:custDataLst>
            <p:extLst>
              <p:ext uri="{D42A27DB-BD31-4B8C-83A1-F6EECF244321}">
                <p14:modId xmlns:p14="http://schemas.microsoft.com/office/powerpoint/2010/main" val="23330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0C227932-C3A5-4BE2-B468-0B2D2E1D3C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hoek 3">
            <a:extLst>
              <a:ext uri="{FF2B5EF4-FFF2-40B4-BE49-F238E27FC236}">
                <a16:creationId xmlns:a16="http://schemas.microsoft.com/office/drawing/2014/main" id="{1A471AC0-2471-4CD3-A61D-8D184731D0F8}"/>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13" name="Rechthoek 12">
            <a:extLst>
              <a:ext uri="{FF2B5EF4-FFF2-40B4-BE49-F238E27FC236}">
                <a16:creationId xmlns:a16="http://schemas.microsoft.com/office/drawing/2014/main" id="{EBA0C01F-B0FB-46DC-B5A8-B8DDF50AAA26}"/>
              </a:ext>
            </a:extLst>
          </p:cNvPr>
          <p:cNvSpPr/>
          <p:nvPr/>
        </p:nvSpPr>
        <p:spPr>
          <a:xfrm rot="7786244">
            <a:off x="6153698" y="3658094"/>
            <a:ext cx="1976529" cy="4893516"/>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Vrije vorm: vorm 13">
            <a:extLst>
              <a:ext uri="{FF2B5EF4-FFF2-40B4-BE49-F238E27FC236}">
                <a16:creationId xmlns:a16="http://schemas.microsoft.com/office/drawing/2014/main" id="{DE8634FF-9E62-4CE8-A01E-324F402A9AF1}"/>
              </a:ext>
            </a:extLst>
          </p:cNvPr>
          <p:cNvSpPr/>
          <p:nvPr/>
        </p:nvSpPr>
        <p:spPr>
          <a:xfrm rot="9139577">
            <a:off x="6832407" y="-3517582"/>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2" name="Titel 1">
            <a:extLst>
              <a:ext uri="{FF2B5EF4-FFF2-40B4-BE49-F238E27FC236}">
                <a16:creationId xmlns:a16="http://schemas.microsoft.com/office/drawing/2014/main" id="{B328335E-EF35-47F3-A4BD-002A445D0D98}"/>
              </a:ext>
            </a:extLst>
          </p:cNvPr>
          <p:cNvSpPr>
            <a:spLocks noGrp="1"/>
          </p:cNvSpPr>
          <p:nvPr>
            <p:ph type="ctrTitle"/>
          </p:nvPr>
        </p:nvSpPr>
        <p:spPr>
          <a:xfrm>
            <a:off x="841613" y="799151"/>
            <a:ext cx="7674590" cy="1903106"/>
          </a:xfrm>
        </p:spPr>
        <p:txBody>
          <a:bodyPr vert="horz" anchor="b">
            <a:normAutofit/>
          </a:bodyPr>
          <a:lstStyle>
            <a:lvl1pPr algn="l">
              <a:defRPr sz="6600" b="0">
                <a:solidFill>
                  <a:schemeClr val="tx1"/>
                </a:solidFill>
                <a:latin typeface="+mn-lt"/>
              </a:defRPr>
            </a:lvl1pPr>
          </a:lstStyle>
          <a:p>
            <a:r>
              <a:rPr lang="en-US"/>
              <a:t>Click to edit Master title style</a:t>
            </a:r>
            <a:endParaRPr lang="en-GB" dirty="0"/>
          </a:p>
        </p:txBody>
      </p:sp>
      <p:sp>
        <p:nvSpPr>
          <p:cNvPr id="3" name="Ondertitel 2">
            <a:extLst>
              <a:ext uri="{FF2B5EF4-FFF2-40B4-BE49-F238E27FC236}">
                <a16:creationId xmlns:a16="http://schemas.microsoft.com/office/drawing/2014/main" id="{04CB5D2F-1DCC-4C1D-9AB2-237582E64C7C}"/>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6" name="Graphic 15">
            <a:extLst>
              <a:ext uri="{FF2B5EF4-FFF2-40B4-BE49-F238E27FC236}">
                <a16:creationId xmlns:a16="http://schemas.microsoft.com/office/drawing/2014/main" id="{6623FD80-792A-4326-B8F3-394BB91D71AC}"/>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93682" y="5447542"/>
            <a:ext cx="2038111" cy="972414"/>
          </a:xfrm>
          <a:prstGeom prst="rect">
            <a:avLst/>
          </a:prstGeom>
        </p:spPr>
      </p:pic>
    </p:spTree>
    <p:extLst>
      <p:ext uri="{BB962C8B-B14F-4D97-AF65-F5344CB8AC3E}">
        <p14:creationId xmlns:p14="http://schemas.microsoft.com/office/powerpoint/2010/main" val="2424141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rgbClr val="191919"/>
                </a:solidFill>
              </a:defRPr>
            </a:lvl4pPr>
            <a:lvl5pPr>
              <a:defRPr>
                <a:solidFill>
                  <a:srgbClr val="191919"/>
                </a:solidFill>
              </a:defRPr>
            </a:lvl5pPr>
          </a:lstStyle>
          <a:p>
            <a:pPr lvl="0"/>
            <a:r>
              <a:rPr lang="en-US"/>
              <a:t>Click to edit Master text styles</a:t>
            </a:r>
          </a:p>
          <a:p>
            <a:pPr lvl="1"/>
            <a:r>
              <a:rPr lang="en-US"/>
              <a:t>Second level</a:t>
            </a:r>
          </a:p>
          <a:p>
            <a:pPr lvl="2"/>
            <a:r>
              <a:rPr lang="en-US"/>
              <a:t>Third level</a:t>
            </a:r>
          </a:p>
        </p:txBody>
      </p:sp>
      <p:sp>
        <p:nvSpPr>
          <p:cNvPr id="8" name="Title Placeholder 1">
            <a:extLst>
              <a:ext uri="{FF2B5EF4-FFF2-40B4-BE49-F238E27FC236}">
                <a16:creationId xmlns:a16="http://schemas.microsoft.com/office/drawing/2014/main" id="{C85B63D6-D71F-A240-AA5E-4A1411037530}"/>
              </a:ext>
            </a:extLst>
          </p:cNvPr>
          <p:cNvSpPr>
            <a:spLocks noGrp="1"/>
          </p:cNvSpPr>
          <p:nvPr>
            <p:ph type="title"/>
          </p:nvPr>
        </p:nvSpPr>
        <p:spPr bwMode="auto">
          <a:xfrm>
            <a:off x="836757" y="500826"/>
            <a:ext cx="9418359" cy="9561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lvl="0"/>
            <a:r>
              <a:rPr lang="en-US" altLang="en-US"/>
              <a:t>Click to edit Master title style</a:t>
            </a:r>
            <a:endParaRPr lang="en-US" altLang="en-US" dirty="0"/>
          </a:p>
        </p:txBody>
      </p:sp>
    </p:spTree>
    <p:extLst>
      <p:ext uri="{BB962C8B-B14F-4D97-AF65-F5344CB8AC3E}">
        <p14:creationId xmlns:p14="http://schemas.microsoft.com/office/powerpoint/2010/main" val="6430940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reaker page">
    <p:bg>
      <p:bgPr>
        <a:solidFill>
          <a:schemeClr val="tx1"/>
        </a:solid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424543" y="439583"/>
            <a:ext cx="9753600" cy="4965699"/>
          </a:xfrm>
        </p:spPr>
        <p:txBody>
          <a:bodyPr anchor="t"/>
          <a:lstStyle>
            <a:lvl1pPr algn="l">
              <a:lnSpc>
                <a:spcPct val="120000"/>
              </a:lnSpc>
              <a:defRPr sz="6000" b="1" i="0">
                <a:solidFill>
                  <a:schemeClr val="bg1"/>
                </a:solidFill>
                <a:latin typeface="IBM Plex Sans" panose="020B0503050203000203" pitchFamily="34" charset="77"/>
              </a:defRPr>
            </a:lvl1pPr>
          </a:lstStyle>
          <a:p>
            <a:r>
              <a:rPr lang="en-US" dirty="0"/>
              <a:t>This is a breaker page, it can be used to split topics or highlight something</a:t>
            </a:r>
          </a:p>
        </p:txBody>
      </p:sp>
    </p:spTree>
    <p:extLst>
      <p:ext uri="{BB962C8B-B14F-4D97-AF65-F5344CB8AC3E}">
        <p14:creationId xmlns:p14="http://schemas.microsoft.com/office/powerpoint/2010/main" val="34859309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Video with title">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1025EDE9-3B05-7230-5E33-33D3F2B4E520}"/>
              </a:ext>
            </a:extLst>
          </p:cNvPr>
          <p:cNvPicPr>
            <a:picLocks noChangeAspect="1"/>
          </p:cNvPicPr>
          <p:nvPr userDrawn="1"/>
        </p:nvPicPr>
        <p:blipFill>
          <a:blip r:embed="rId2">
            <a:alphaModFix amt="45000"/>
          </a:blip>
          <a:stretch>
            <a:fillRect/>
          </a:stretch>
        </p:blipFill>
        <p:spPr>
          <a:xfrm rot="10800000">
            <a:off x="0" y="518160"/>
            <a:ext cx="12192000" cy="6339840"/>
          </a:xfrm>
          <a:prstGeom prst="rect">
            <a:avLst/>
          </a:prstGeom>
        </p:spPr>
      </p:pic>
      <p:sp>
        <p:nvSpPr>
          <p:cNvPr id="3" name="Media Placeholder 2">
            <a:extLst>
              <a:ext uri="{FF2B5EF4-FFF2-40B4-BE49-F238E27FC236}">
                <a16:creationId xmlns:a16="http://schemas.microsoft.com/office/drawing/2014/main" id="{DA1B8345-15BE-7B3E-6C43-E7C4C6CA82A4}"/>
              </a:ext>
            </a:extLst>
          </p:cNvPr>
          <p:cNvSpPr>
            <a:spLocks noGrp="1"/>
          </p:cNvSpPr>
          <p:nvPr>
            <p:ph type="media" sz="quarter" idx="10"/>
          </p:nvPr>
        </p:nvSpPr>
        <p:spPr>
          <a:xfrm>
            <a:off x="293687" y="1010265"/>
            <a:ext cx="11604625" cy="5554048"/>
          </a:xfrm>
          <a:prstGeom prst="roundRect">
            <a:avLst>
              <a:gd name="adj" fmla="val 1853"/>
            </a:avLst>
          </a:prstGeom>
          <a:ln>
            <a:solidFill>
              <a:srgbClr val="D2D2D2"/>
            </a:solidFill>
          </a:ln>
          <a:effectLst>
            <a:outerShdw blurRad="50800" dist="38100" dir="2700000" algn="tl" rotWithShape="0">
              <a:prstClr val="black">
                <a:alpha val="40000"/>
              </a:prstClr>
            </a:outerShdw>
          </a:effectLst>
        </p:spPr>
        <p:txBody>
          <a:bodyPr/>
          <a:lstStyle/>
          <a:p>
            <a:endParaRPr lang="en-US"/>
          </a:p>
        </p:txBody>
      </p:sp>
      <p:sp>
        <p:nvSpPr>
          <p:cNvPr id="5" name="Text Placeholder 4">
            <a:extLst>
              <a:ext uri="{FF2B5EF4-FFF2-40B4-BE49-F238E27FC236}">
                <a16:creationId xmlns:a16="http://schemas.microsoft.com/office/drawing/2014/main" id="{D74728CA-8266-227B-79FB-2A9DBB53165E}"/>
              </a:ext>
            </a:extLst>
          </p:cNvPr>
          <p:cNvSpPr>
            <a:spLocks noGrp="1"/>
          </p:cNvSpPr>
          <p:nvPr>
            <p:ph type="body" sz="quarter" idx="11"/>
          </p:nvPr>
        </p:nvSpPr>
        <p:spPr>
          <a:xfrm>
            <a:off x="293686" y="286673"/>
            <a:ext cx="11604625" cy="430887"/>
          </a:xfrm>
        </p:spPr>
        <p:txBody>
          <a:bodyPr/>
          <a:lstStyle>
            <a:lvl1pPr marL="0" indent="0" algn="ctr">
              <a:buNone/>
              <a:defRPr sz="2800">
                <a:solidFill>
                  <a:schemeClr val="accent4">
                    <a:lumMod val="50000"/>
                  </a:schemeClr>
                </a:solidFill>
                <a:latin typeface="+mj-lt"/>
              </a:defRPr>
            </a:lvl1pPr>
            <a:lvl2pPr algn="ctr">
              <a:defRPr sz="2000">
                <a:latin typeface="+mj-lt"/>
              </a:defRPr>
            </a:lvl2pPr>
            <a:lvl3pPr algn="ctr">
              <a:defRPr sz="1600">
                <a:latin typeface="+mj-lt"/>
              </a:defRPr>
            </a:lvl3pPr>
            <a:lvl4pPr algn="ctr">
              <a:defRPr sz="1400">
                <a:latin typeface="+mj-lt"/>
              </a:defRPr>
            </a:lvl4pPr>
            <a:lvl5pPr algn="ctr">
              <a:defRPr sz="1400">
                <a:latin typeface="+mj-lt"/>
              </a:defRPr>
            </a:lvl5pPr>
          </a:lstStyle>
          <a:p>
            <a:pPr lvl="0"/>
            <a:r>
              <a:rPr lang="en-US"/>
              <a:t>Click to edit Master text styles</a:t>
            </a:r>
          </a:p>
        </p:txBody>
      </p:sp>
    </p:spTree>
    <p:extLst>
      <p:ext uri="{BB962C8B-B14F-4D97-AF65-F5344CB8AC3E}">
        <p14:creationId xmlns:p14="http://schemas.microsoft.com/office/powerpoint/2010/main" val="29558752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ubtitle 02">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AE998DF9-8C1D-46A7-883C-8718EA523E1C}"/>
              </a:ext>
            </a:extLst>
          </p:cNvPr>
          <p:cNvSpPr/>
          <p:nvPr/>
        </p:nvSpPr>
        <p:spPr>
          <a:xfrm rot="6016460">
            <a:off x="584673" y="1723641"/>
            <a:ext cx="1467460" cy="6345777"/>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Vrije vorm: vorm 7">
            <a:extLst>
              <a:ext uri="{FF2B5EF4-FFF2-40B4-BE49-F238E27FC236}">
                <a16:creationId xmlns:a16="http://schemas.microsoft.com/office/drawing/2014/main" id="{229DEDC1-BA36-4BC1-AF5F-4E08D1D1F2DA}"/>
              </a:ext>
            </a:extLst>
          </p:cNvPr>
          <p:cNvSpPr/>
          <p:nvPr/>
        </p:nvSpPr>
        <p:spPr>
          <a:xfrm>
            <a:off x="7677738" y="394174"/>
            <a:ext cx="6143153" cy="6143152"/>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2" name="Titel 1">
            <a:extLst>
              <a:ext uri="{FF2B5EF4-FFF2-40B4-BE49-F238E27FC236}">
                <a16:creationId xmlns:a16="http://schemas.microsoft.com/office/drawing/2014/main" id="{EF6A98CC-F557-4D9B-A099-463552032EF9}"/>
              </a:ext>
            </a:extLst>
          </p:cNvPr>
          <p:cNvSpPr>
            <a:spLocks noGrp="1"/>
          </p:cNvSpPr>
          <p:nvPr>
            <p:ph type="ctrTitle"/>
          </p:nvPr>
        </p:nvSpPr>
        <p:spPr>
          <a:xfrm>
            <a:off x="841613" y="799151"/>
            <a:ext cx="7674590" cy="1903106"/>
          </a:xfrm>
        </p:spPr>
        <p:txBody>
          <a:bodyPr anchor="b">
            <a:normAutofit/>
          </a:bodyPr>
          <a:lstStyle>
            <a:lvl1pPr algn="l">
              <a:defRPr sz="6600" b="0">
                <a:solidFill>
                  <a:schemeClr val="tx1"/>
                </a:solidFill>
                <a:latin typeface="+mn-lt"/>
              </a:defRPr>
            </a:lvl1pPr>
          </a:lstStyle>
          <a:p>
            <a:r>
              <a:rPr lang="en-US"/>
              <a:t>Click to edit Master title style</a:t>
            </a:r>
            <a:endParaRPr lang="en-GB" dirty="0"/>
          </a:p>
        </p:txBody>
      </p:sp>
      <p:sp>
        <p:nvSpPr>
          <p:cNvPr id="15" name="Ondertitel 2">
            <a:extLst>
              <a:ext uri="{FF2B5EF4-FFF2-40B4-BE49-F238E27FC236}">
                <a16:creationId xmlns:a16="http://schemas.microsoft.com/office/drawing/2014/main" id="{6B075DAC-FE98-441F-91A3-5F8B55C8FA26}"/>
              </a:ext>
            </a:extLst>
          </p:cNvPr>
          <p:cNvSpPr>
            <a:spLocks noGrp="1"/>
          </p:cNvSpPr>
          <p:nvPr>
            <p:ph type="subTitle" idx="1"/>
          </p:nvPr>
        </p:nvSpPr>
        <p:spPr>
          <a:xfrm>
            <a:off x="841613" y="2772605"/>
            <a:ext cx="7674590" cy="72880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090300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ubtitle - 02">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562AE43F-CF1E-4884-9C1C-903846FB5ED2}"/>
              </a:ext>
            </a:extLst>
          </p:cNvPr>
          <p:cNvSpPr>
            <a:spLocks noGrp="1"/>
          </p:cNvSpPr>
          <p:nvPr>
            <p:ph type="pic" sz="quarter" idx="10"/>
          </p:nvPr>
        </p:nvSpPr>
        <p:spPr>
          <a:xfrm>
            <a:off x="6096000" y="0"/>
            <a:ext cx="6096000" cy="6858000"/>
          </a:xfrm>
          <a:solidFill>
            <a:schemeClr val="bg1">
              <a:lumMod val="95000"/>
            </a:schemeClr>
          </a:solidFill>
        </p:spPr>
        <p:txBody>
          <a:bodyPr anchor="ctr">
            <a:normAutofit/>
          </a:bodyPr>
          <a:lstStyle>
            <a:lvl1pPr marL="0" indent="0" algn="ctr">
              <a:buNone/>
              <a:defRPr sz="2000"/>
            </a:lvl1pPr>
          </a:lstStyle>
          <a:p>
            <a:r>
              <a:rPr lang="en-US"/>
              <a:t>Click icon to add picture</a:t>
            </a:r>
            <a:endParaRPr lang="en-GB"/>
          </a:p>
        </p:txBody>
      </p:sp>
      <p:sp>
        <p:nvSpPr>
          <p:cNvPr id="2" name="Titel 1">
            <a:extLst>
              <a:ext uri="{FF2B5EF4-FFF2-40B4-BE49-F238E27FC236}">
                <a16:creationId xmlns:a16="http://schemas.microsoft.com/office/drawing/2014/main" id="{FB92F278-3E36-4026-AE77-45C36C3D36DF}"/>
              </a:ext>
            </a:extLst>
          </p:cNvPr>
          <p:cNvSpPr>
            <a:spLocks noGrp="1"/>
          </p:cNvSpPr>
          <p:nvPr>
            <p:ph type="title"/>
          </p:nvPr>
        </p:nvSpPr>
        <p:spPr>
          <a:xfrm>
            <a:off x="565484" y="682123"/>
            <a:ext cx="4981074" cy="1985210"/>
          </a:xfrm>
        </p:spPr>
        <p:txBody>
          <a:bodyPr anchor="b"/>
          <a:lstStyle>
            <a:lvl1pPr>
              <a:defRPr b="0">
                <a:gradFill>
                  <a:gsLst>
                    <a:gs pos="0">
                      <a:schemeClr val="accent1"/>
                    </a:gs>
                    <a:gs pos="100000">
                      <a:schemeClr val="accent2"/>
                    </a:gs>
                  </a:gsLst>
                  <a:lin ang="0" scaled="0"/>
                </a:gradFill>
              </a:defRPr>
            </a:lvl1pPr>
          </a:lstStyle>
          <a:p>
            <a:r>
              <a:rPr lang="en-US"/>
              <a:t>Click to edit Master title style</a:t>
            </a:r>
            <a:endParaRPr lang="en-GB" dirty="0"/>
          </a:p>
        </p:txBody>
      </p:sp>
      <p:sp>
        <p:nvSpPr>
          <p:cNvPr id="8" name="Vrije vorm: vorm 7">
            <a:extLst>
              <a:ext uri="{FF2B5EF4-FFF2-40B4-BE49-F238E27FC236}">
                <a16:creationId xmlns:a16="http://schemas.microsoft.com/office/drawing/2014/main" id="{328067BC-D300-403B-8A41-F91504D058B6}"/>
              </a:ext>
            </a:extLst>
          </p:cNvPr>
          <p:cNvSpPr/>
          <p:nvPr/>
        </p:nvSpPr>
        <p:spPr>
          <a:xfrm>
            <a:off x="3969613" y="4014873"/>
            <a:ext cx="2126387" cy="2843128"/>
          </a:xfrm>
          <a:custGeom>
            <a:avLst/>
            <a:gdLst>
              <a:gd name="connsiteX0" fmla="*/ 2126387 w 2126387"/>
              <a:gd name="connsiteY0" fmla="*/ 0 h 2843128"/>
              <a:gd name="connsiteX1" fmla="*/ 2126387 w 2126387"/>
              <a:gd name="connsiteY1" fmla="*/ 1332544 h 2843128"/>
              <a:gd name="connsiteX2" fmla="*/ 2011075 w 2126387"/>
              <a:gd name="connsiteY2" fmla="*/ 1388096 h 2843128"/>
              <a:gd name="connsiteX3" fmla="*/ 1276519 w 2126387"/>
              <a:gd name="connsiteY3" fmla="*/ 2621962 h 2843128"/>
              <a:gd name="connsiteX4" fmla="*/ 1283764 w 2126387"/>
              <a:gd name="connsiteY4" fmla="*/ 2765426 h 2843128"/>
              <a:gd name="connsiteX5" fmla="*/ 1295625 w 2126387"/>
              <a:gd name="connsiteY5" fmla="*/ 2843128 h 2843128"/>
              <a:gd name="connsiteX6" fmla="*/ 11167 w 2126387"/>
              <a:gd name="connsiteY6" fmla="*/ 2843128 h 2843128"/>
              <a:gd name="connsiteX7" fmla="*/ 0 w 2126387"/>
              <a:gd name="connsiteY7" fmla="*/ 2621962 h 2843128"/>
              <a:gd name="connsiteX8" fmla="*/ 1882897 w 2126387"/>
              <a:gd name="connsiteY8" fmla="*/ 62605 h 284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387" h="2843128">
                <a:moveTo>
                  <a:pt x="2126387" y="0"/>
                </a:moveTo>
                <a:lnTo>
                  <a:pt x="2126387" y="1332544"/>
                </a:lnTo>
                <a:lnTo>
                  <a:pt x="2011075" y="1388096"/>
                </a:lnTo>
                <a:cubicBezTo>
                  <a:pt x="1573635" y="1625731"/>
                  <a:pt x="1276519" y="2089192"/>
                  <a:pt x="1276519" y="2621962"/>
                </a:cubicBezTo>
                <a:cubicBezTo>
                  <a:pt x="1276519" y="2670396"/>
                  <a:pt x="1278973" y="2718256"/>
                  <a:pt x="1283764" y="2765426"/>
                </a:cubicBezTo>
                <a:lnTo>
                  <a:pt x="1295625" y="2843128"/>
                </a:lnTo>
                <a:lnTo>
                  <a:pt x="11167" y="2843128"/>
                </a:lnTo>
                <a:lnTo>
                  <a:pt x="0" y="2621962"/>
                </a:lnTo>
                <a:cubicBezTo>
                  <a:pt x="0" y="1419416"/>
                  <a:pt x="791990" y="401898"/>
                  <a:pt x="1882897" y="62605"/>
                </a:cubicBez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15" name="Ondertitel 2">
            <a:extLst>
              <a:ext uri="{FF2B5EF4-FFF2-40B4-BE49-F238E27FC236}">
                <a16:creationId xmlns:a16="http://schemas.microsoft.com/office/drawing/2014/main" id="{E58A4E09-B771-4D46-9BFC-C0926E6A9E72}"/>
              </a:ext>
            </a:extLst>
          </p:cNvPr>
          <p:cNvSpPr>
            <a:spLocks noGrp="1"/>
          </p:cNvSpPr>
          <p:nvPr>
            <p:ph type="subTitle" idx="1"/>
          </p:nvPr>
        </p:nvSpPr>
        <p:spPr>
          <a:xfrm>
            <a:off x="565484" y="2919997"/>
            <a:ext cx="4981074" cy="93846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7" name="Tijdelijke aanduiding voor tekst 16">
            <a:extLst>
              <a:ext uri="{FF2B5EF4-FFF2-40B4-BE49-F238E27FC236}">
                <a16:creationId xmlns:a16="http://schemas.microsoft.com/office/drawing/2014/main" id="{8408E3B1-DF3F-4224-80FC-BF290DFE8323}"/>
              </a:ext>
            </a:extLst>
          </p:cNvPr>
          <p:cNvSpPr>
            <a:spLocks noGrp="1"/>
          </p:cNvSpPr>
          <p:nvPr>
            <p:ph type="body" sz="quarter" idx="11"/>
          </p:nvPr>
        </p:nvSpPr>
        <p:spPr>
          <a:xfrm>
            <a:off x="6095913" y="3954713"/>
            <a:ext cx="3232800" cy="2901600"/>
          </a:xfrm>
          <a:blipFill dpi="0" rotWithShape="1">
            <a:blip r:embed="rId2">
              <a:alphaModFix amt="75000"/>
              <a:extLst>
                <a:ext uri="{96DAC541-7B7A-43D3-8B79-37D633B846F1}">
                  <asvg:svgBlip xmlns:asvg="http://schemas.microsoft.com/office/drawing/2016/SVG/main" r:embed="rId3"/>
                </a:ext>
              </a:extLst>
            </a:blip>
            <a:srcRect/>
            <a:stretch>
              <a:fillRect/>
            </a:stretch>
          </a:blipFill>
        </p:spPr>
        <p:txBody>
          <a:bodyPr>
            <a:normAutofit/>
          </a:bodyPr>
          <a:lstStyle>
            <a:lvl1pPr marL="0" indent="0">
              <a:buNone/>
              <a:defRPr sz="100">
                <a:noFill/>
              </a:defRPr>
            </a:lvl1pPr>
            <a:lvl2pPr marL="457200" indent="0">
              <a:buNone/>
              <a:defRPr sz="100">
                <a:noFill/>
              </a:defRPr>
            </a:lvl2pPr>
            <a:lvl3pPr marL="914400" indent="0">
              <a:buNone/>
              <a:defRPr sz="100">
                <a:noFill/>
              </a:defRPr>
            </a:lvl3pPr>
            <a:lvl4pPr marL="1371600" indent="0">
              <a:buNone/>
              <a:defRPr sz="100">
                <a:noFill/>
              </a:defRPr>
            </a:lvl4pPr>
            <a:lvl5pPr marL="1828800" indent="0">
              <a:buNone/>
              <a:defRPr sz="100">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0" name="Rechthoek 99">
            <a:extLst>
              <a:ext uri="{FF2B5EF4-FFF2-40B4-BE49-F238E27FC236}">
                <a16:creationId xmlns:a16="http://schemas.microsoft.com/office/drawing/2014/main" id="{026C2B54-10DE-4DB0-9FBB-B49FD34D1488}"/>
              </a:ext>
            </a:extLst>
          </p:cNvPr>
          <p:cNvSpPr/>
          <p:nvPr/>
        </p:nvSpPr>
        <p:spPr>
          <a:xfrm>
            <a:off x="-4858954" y="394173"/>
            <a:ext cx="3203717"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a:solidFill>
                  <a:schemeClr val="tx1"/>
                </a:solidFill>
                <a:latin typeface="+mn-lt"/>
                <a:ea typeface="+mn-ea"/>
                <a:cs typeface="+mn-cs"/>
              </a:rPr>
              <a:t>Voeg </a:t>
            </a:r>
            <a:r>
              <a:rPr lang="en-US" sz="1400" b="0" i="0" u="none" kern="1200" noProof="0" dirty="0" err="1">
                <a:solidFill>
                  <a:schemeClr val="tx1"/>
                </a:solidFill>
                <a:latin typeface="+mn-lt"/>
                <a:ea typeface="+mn-ea"/>
                <a:cs typeface="+mn-cs"/>
              </a:rPr>
              <a:t>een</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fbeelding</a:t>
            </a:r>
            <a:r>
              <a:rPr lang="en-US" sz="1400" b="0" i="0" u="none" kern="1200" noProof="0" dirty="0">
                <a:solidFill>
                  <a:schemeClr val="tx1"/>
                </a:solidFill>
                <a:latin typeface="+mn-lt"/>
                <a:ea typeface="+mn-ea"/>
                <a:cs typeface="+mn-cs"/>
              </a:rPr>
              <a:t> of film toe</a:t>
            </a:r>
            <a:endParaRPr lang="nl-NL" sz="1400" b="0" i="0" u="none" kern="1200" noProof="0" dirty="0">
              <a:solidFill>
                <a:schemeClr val="tx1"/>
              </a:solidFill>
              <a:latin typeface="+mn-lt"/>
              <a:ea typeface="+mn-ea"/>
              <a:cs typeface="+mn-cs"/>
            </a:endParaRPr>
          </a:p>
        </p:txBody>
      </p:sp>
      <p:cxnSp>
        <p:nvCxnSpPr>
          <p:cNvPr id="101" name="Rechte verbindingslijn 100">
            <a:extLst>
              <a:ext uri="{FF2B5EF4-FFF2-40B4-BE49-F238E27FC236}">
                <a16:creationId xmlns:a16="http://schemas.microsoft.com/office/drawing/2014/main" id="{015A26D9-25E2-4D7C-9B21-59F4681390DA}"/>
              </a:ext>
            </a:extLst>
          </p:cNvPr>
          <p:cNvCxnSpPr>
            <a:cxnSpLocks/>
          </p:cNvCxnSpPr>
          <p:nvPr/>
        </p:nvCxnSpPr>
        <p:spPr>
          <a:xfrm>
            <a:off x="-4685618" y="673584"/>
            <a:ext cx="4309227" cy="0"/>
          </a:xfrm>
          <a:prstGeom prst="line">
            <a:avLst/>
          </a:prstGeom>
          <a:noFill/>
          <a:ln w="9525" cap="flat" cmpd="sng" algn="ctr">
            <a:solidFill>
              <a:schemeClr val="accent2"/>
            </a:solidFill>
            <a:prstDash val="solid"/>
          </a:ln>
          <a:effectLst/>
        </p:spPr>
      </p:cxnSp>
      <p:sp>
        <p:nvSpPr>
          <p:cNvPr id="102" name="Tekstvak 101">
            <a:extLst>
              <a:ext uri="{FF2B5EF4-FFF2-40B4-BE49-F238E27FC236}">
                <a16:creationId xmlns:a16="http://schemas.microsoft.com/office/drawing/2014/main" id="{D0B8D6E5-78FC-4E79-8093-E330489A6E1B}"/>
              </a:ext>
            </a:extLst>
          </p:cNvPr>
          <p:cNvSpPr txBox="1"/>
          <p:nvPr/>
        </p:nvSpPr>
        <p:spPr>
          <a:xfrm>
            <a:off x="-4685621" y="774064"/>
            <a:ext cx="2946092"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Afbeeldingen kunnen toegevoegd worden via deze knoppen:</a:t>
            </a:r>
          </a:p>
        </p:txBody>
      </p:sp>
      <p:grpSp>
        <p:nvGrpSpPr>
          <p:cNvPr id="103" name="Groep 102">
            <a:extLst>
              <a:ext uri="{FF2B5EF4-FFF2-40B4-BE49-F238E27FC236}">
                <a16:creationId xmlns:a16="http://schemas.microsoft.com/office/drawing/2014/main" id="{A7E55E96-C2D0-48B3-A6E7-C03FCA5AF4B0}"/>
              </a:ext>
            </a:extLst>
          </p:cNvPr>
          <p:cNvGrpSpPr/>
          <p:nvPr/>
        </p:nvGrpSpPr>
        <p:grpSpPr>
          <a:xfrm>
            <a:off x="-1425490" y="845069"/>
            <a:ext cx="250379" cy="249771"/>
            <a:chOff x="-706740" y="145633"/>
            <a:chExt cx="250379" cy="249771"/>
          </a:xfrm>
        </p:grpSpPr>
        <p:sp>
          <p:nvSpPr>
            <p:cNvPr id="104" name="Rechthoek 103">
              <a:extLst>
                <a:ext uri="{FF2B5EF4-FFF2-40B4-BE49-F238E27FC236}">
                  <a16:creationId xmlns:a16="http://schemas.microsoft.com/office/drawing/2014/main" id="{4F1352B4-D000-4E98-BF96-1EBDD289BB0C}"/>
                </a:ext>
              </a:extLst>
            </p:cNvPr>
            <p:cNvSpPr/>
            <p:nvPr userDrawn="1"/>
          </p:nvSpPr>
          <p:spPr>
            <a:xfrm rot="5400000">
              <a:off x="-695663" y="134556"/>
              <a:ext cx="216024" cy="238177"/>
            </a:xfrm>
            <a:prstGeom prst="rect">
              <a:avLst/>
            </a:prstGeom>
            <a:solidFill>
              <a:schemeClr val="bg1"/>
            </a:solidFill>
            <a:ln w="15875" cap="sq">
              <a:solidFill>
                <a:schemeClr val="tx2">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5" name="Gelijkbenige driehoek 128">
              <a:extLst>
                <a:ext uri="{FF2B5EF4-FFF2-40B4-BE49-F238E27FC236}">
                  <a16:creationId xmlns:a16="http://schemas.microsoft.com/office/drawing/2014/main" id="{DE777BB2-0974-471B-A7BF-EBF9E4AA8F75}"/>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6" name="Ovaal 105">
              <a:extLst>
                <a:ext uri="{FF2B5EF4-FFF2-40B4-BE49-F238E27FC236}">
                  <a16:creationId xmlns:a16="http://schemas.microsoft.com/office/drawing/2014/main" id="{1FB47A5C-DC31-4E8C-99EE-57CCE70E44B2}"/>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800"/>
            </a:p>
          </p:txBody>
        </p:sp>
        <p:sp>
          <p:nvSpPr>
            <p:cNvPr id="107" name="Rechthoek 106">
              <a:extLst>
                <a:ext uri="{FF2B5EF4-FFF2-40B4-BE49-F238E27FC236}">
                  <a16:creationId xmlns:a16="http://schemas.microsoft.com/office/drawing/2014/main" id="{AA5B7EC1-9BBA-4F1F-86C5-FF716A5D7C8C}"/>
                </a:ext>
              </a:extLst>
            </p:cNvPr>
            <p:cNvSpPr/>
            <p:nvPr userDrawn="1"/>
          </p:nvSpPr>
          <p:spPr>
            <a:xfrm rot="5400000">
              <a:off x="-576961" y="253117"/>
              <a:ext cx="108000" cy="133200"/>
            </a:xfrm>
            <a:prstGeom prst="rect">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108" name="Rechte verbindingslijn 107">
              <a:extLst>
                <a:ext uri="{FF2B5EF4-FFF2-40B4-BE49-F238E27FC236}">
                  <a16:creationId xmlns:a16="http://schemas.microsoft.com/office/drawing/2014/main" id="{381A1ACB-428F-4517-AF67-2FDD35C8C4EC}"/>
                </a:ext>
              </a:extLst>
            </p:cNvPr>
            <p:cNvCxnSpPr/>
            <p:nvPr userDrawn="1"/>
          </p:nvCxnSpPr>
          <p:spPr>
            <a:xfrm>
              <a:off x="-540961" y="395404"/>
              <a:ext cx="36000" cy="0"/>
            </a:xfrm>
            <a:prstGeom prst="line">
              <a:avLst/>
            </a:prstGeom>
            <a:solidFill>
              <a:schemeClr val="bg1"/>
            </a:solidFill>
            <a:ln w="158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109" name="Tekstvak 108">
            <a:extLst>
              <a:ext uri="{FF2B5EF4-FFF2-40B4-BE49-F238E27FC236}">
                <a16:creationId xmlns:a16="http://schemas.microsoft.com/office/drawing/2014/main" id="{C7AB16CC-3B2F-4637-9874-3738DEA59727}"/>
              </a:ext>
            </a:extLst>
          </p:cNvPr>
          <p:cNvSpPr txBox="1"/>
          <p:nvPr/>
        </p:nvSpPr>
        <p:spPr>
          <a:xfrm>
            <a:off x="-4685621" y="1207658"/>
            <a:ext cx="4111304"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De afbeelding wordt automatisch geschaald naar het ingestelde kader.</a:t>
            </a:r>
          </a:p>
        </p:txBody>
      </p:sp>
      <p:sp>
        <p:nvSpPr>
          <p:cNvPr id="110" name="Tekstvak 109">
            <a:extLst>
              <a:ext uri="{FF2B5EF4-FFF2-40B4-BE49-F238E27FC236}">
                <a16:creationId xmlns:a16="http://schemas.microsoft.com/office/drawing/2014/main" id="{BD4EE27E-331E-452E-A625-11BC2EA3CAF4}"/>
              </a:ext>
            </a:extLst>
          </p:cNvPr>
          <p:cNvSpPr txBox="1"/>
          <p:nvPr/>
        </p:nvSpPr>
        <p:spPr>
          <a:xfrm>
            <a:off x="-4685621" y="1460671"/>
            <a:ext cx="3930700"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een afbeelding te wijzigen, verwijder je best de huidige en begin je terug opnieuw.</a:t>
            </a:r>
          </a:p>
        </p:txBody>
      </p:sp>
      <p:grpSp>
        <p:nvGrpSpPr>
          <p:cNvPr id="111" name="Groep 110">
            <a:extLst>
              <a:ext uri="{FF2B5EF4-FFF2-40B4-BE49-F238E27FC236}">
                <a16:creationId xmlns:a16="http://schemas.microsoft.com/office/drawing/2014/main" id="{87AF777E-3EB7-49B1-9384-9DEB3DF60208}"/>
              </a:ext>
            </a:extLst>
          </p:cNvPr>
          <p:cNvGrpSpPr/>
          <p:nvPr/>
        </p:nvGrpSpPr>
        <p:grpSpPr>
          <a:xfrm>
            <a:off x="-1073403" y="845068"/>
            <a:ext cx="252000" cy="216024"/>
            <a:chOff x="-932185" y="5325334"/>
            <a:chExt cx="252000" cy="216024"/>
          </a:xfrm>
        </p:grpSpPr>
        <p:sp>
          <p:nvSpPr>
            <p:cNvPr id="112" name="Rechthoek 111">
              <a:extLst>
                <a:ext uri="{FF2B5EF4-FFF2-40B4-BE49-F238E27FC236}">
                  <a16:creationId xmlns:a16="http://schemas.microsoft.com/office/drawing/2014/main" id="{6B2E8D27-EA47-46F9-933D-A7B19C6A5EAB}"/>
                </a:ext>
              </a:extLst>
            </p:cNvPr>
            <p:cNvSpPr/>
            <p:nvPr userDrawn="1"/>
          </p:nvSpPr>
          <p:spPr>
            <a:xfrm rot="5400000">
              <a:off x="-914197" y="5307346"/>
              <a:ext cx="216024" cy="252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113" name="Groep 112">
              <a:extLst>
                <a:ext uri="{FF2B5EF4-FFF2-40B4-BE49-F238E27FC236}">
                  <a16:creationId xmlns:a16="http://schemas.microsoft.com/office/drawing/2014/main" id="{A927F2CD-64F8-43BC-863E-46A1C22AE739}"/>
                </a:ext>
              </a:extLst>
            </p:cNvPr>
            <p:cNvGrpSpPr/>
            <p:nvPr userDrawn="1"/>
          </p:nvGrpSpPr>
          <p:grpSpPr>
            <a:xfrm>
              <a:off x="-925512" y="5325900"/>
              <a:ext cx="241658" cy="36000"/>
              <a:chOff x="-964435" y="5325900"/>
              <a:chExt cx="241658" cy="36000"/>
            </a:xfrm>
          </p:grpSpPr>
          <p:sp>
            <p:nvSpPr>
              <p:cNvPr id="122" name="Rechthoek 121">
                <a:extLst>
                  <a:ext uri="{FF2B5EF4-FFF2-40B4-BE49-F238E27FC236}">
                    <a16:creationId xmlns:a16="http://schemas.microsoft.com/office/drawing/2014/main" id="{3FFB8635-05FC-4BA5-A140-CA615757EF49}"/>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3" name="Rechthoek 122">
                <a:extLst>
                  <a:ext uri="{FF2B5EF4-FFF2-40B4-BE49-F238E27FC236}">
                    <a16:creationId xmlns:a16="http://schemas.microsoft.com/office/drawing/2014/main" id="{26C55860-800E-4133-8C74-89A7E7F7D544}"/>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4" name="Rechthoek 123">
                <a:extLst>
                  <a:ext uri="{FF2B5EF4-FFF2-40B4-BE49-F238E27FC236}">
                    <a16:creationId xmlns:a16="http://schemas.microsoft.com/office/drawing/2014/main" id="{8690FCBC-D37D-434C-A27C-0C8F592659D6}"/>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5" name="Rechthoek 124">
                <a:extLst>
                  <a:ext uri="{FF2B5EF4-FFF2-40B4-BE49-F238E27FC236}">
                    <a16:creationId xmlns:a16="http://schemas.microsoft.com/office/drawing/2014/main" id="{428F1B09-7BC0-4739-8FD9-FA95461B89A7}"/>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6" name="Rechthoek 125">
                <a:extLst>
                  <a:ext uri="{FF2B5EF4-FFF2-40B4-BE49-F238E27FC236}">
                    <a16:creationId xmlns:a16="http://schemas.microsoft.com/office/drawing/2014/main" id="{D2270932-42A6-465E-9CF2-AE4DC7B23285}"/>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7" name="Rechthoek 126">
                <a:extLst>
                  <a:ext uri="{FF2B5EF4-FFF2-40B4-BE49-F238E27FC236}">
                    <a16:creationId xmlns:a16="http://schemas.microsoft.com/office/drawing/2014/main" id="{CE20B0D9-B48B-422A-847D-AF23BF6FBAA7}"/>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8" name="Rechthoek 127">
                <a:extLst>
                  <a:ext uri="{FF2B5EF4-FFF2-40B4-BE49-F238E27FC236}">
                    <a16:creationId xmlns:a16="http://schemas.microsoft.com/office/drawing/2014/main" id="{8844DFE3-70CB-4F98-A827-86EE344DF3A7}"/>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nvGrpSpPr>
            <p:cNvPr id="114" name="Groep 113">
              <a:extLst>
                <a:ext uri="{FF2B5EF4-FFF2-40B4-BE49-F238E27FC236}">
                  <a16:creationId xmlns:a16="http://schemas.microsoft.com/office/drawing/2014/main" id="{6D2B3335-C2CB-4488-B19F-2AFDC1E5880C}"/>
                </a:ext>
              </a:extLst>
            </p:cNvPr>
            <p:cNvGrpSpPr/>
            <p:nvPr userDrawn="1"/>
          </p:nvGrpSpPr>
          <p:grpSpPr>
            <a:xfrm>
              <a:off x="-925512" y="5502593"/>
              <a:ext cx="241658" cy="36000"/>
              <a:chOff x="-964435" y="5325900"/>
              <a:chExt cx="241658" cy="36000"/>
            </a:xfrm>
          </p:grpSpPr>
          <p:sp>
            <p:nvSpPr>
              <p:cNvPr id="115" name="Rechthoek 114">
                <a:extLst>
                  <a:ext uri="{FF2B5EF4-FFF2-40B4-BE49-F238E27FC236}">
                    <a16:creationId xmlns:a16="http://schemas.microsoft.com/office/drawing/2014/main" id="{93568914-1038-4BFB-9CBC-0A778B3FD4A2}"/>
                  </a:ext>
                </a:extLst>
              </p:cNvPr>
              <p:cNvSpPr/>
              <p:nvPr userDrawn="1"/>
            </p:nvSpPr>
            <p:spPr>
              <a:xfrm rot="5400000">
                <a:off x="-964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6" name="Rechthoek 115">
                <a:extLst>
                  <a:ext uri="{FF2B5EF4-FFF2-40B4-BE49-F238E27FC236}">
                    <a16:creationId xmlns:a16="http://schemas.microsoft.com/office/drawing/2014/main" id="{373A2D67-4500-4785-B9FF-09FA6B86DE2B}"/>
                  </a:ext>
                </a:extLst>
              </p:cNvPr>
              <p:cNvSpPr/>
              <p:nvPr userDrawn="1"/>
            </p:nvSpPr>
            <p:spPr>
              <a:xfrm rot="5400000">
                <a:off x="-928435"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7" name="Rechthoek 116">
                <a:extLst>
                  <a:ext uri="{FF2B5EF4-FFF2-40B4-BE49-F238E27FC236}">
                    <a16:creationId xmlns:a16="http://schemas.microsoft.com/office/drawing/2014/main" id="{B2577D0E-FC38-40FC-964B-1AD3C18AEA1A}"/>
                  </a:ext>
                </a:extLst>
              </p:cNvPr>
              <p:cNvSpPr/>
              <p:nvPr userDrawn="1"/>
            </p:nvSpPr>
            <p:spPr>
              <a:xfrm rot="5400000">
                <a:off x="-894436"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8" name="Rechthoek 117">
                <a:extLst>
                  <a:ext uri="{FF2B5EF4-FFF2-40B4-BE49-F238E27FC236}">
                    <a16:creationId xmlns:a16="http://schemas.microsoft.com/office/drawing/2014/main" id="{BB8D67FD-FAEF-4AA5-BB60-0F48191B8E9C}"/>
                  </a:ext>
                </a:extLst>
              </p:cNvPr>
              <p:cNvSpPr/>
              <p:nvPr userDrawn="1"/>
            </p:nvSpPr>
            <p:spPr>
              <a:xfrm rot="5400000">
                <a:off x="-86150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9" name="Rechthoek 118">
                <a:extLst>
                  <a:ext uri="{FF2B5EF4-FFF2-40B4-BE49-F238E27FC236}">
                    <a16:creationId xmlns:a16="http://schemas.microsoft.com/office/drawing/2014/main" id="{24EEF202-722D-44E6-8F87-5F4CB453959F}"/>
                  </a:ext>
                </a:extLst>
              </p:cNvPr>
              <p:cNvSpPr/>
              <p:nvPr userDrawn="1"/>
            </p:nvSpPr>
            <p:spPr>
              <a:xfrm rot="5400000">
                <a:off x="-827504"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0" name="Rechthoek 119">
                <a:extLst>
                  <a:ext uri="{FF2B5EF4-FFF2-40B4-BE49-F238E27FC236}">
                    <a16:creationId xmlns:a16="http://schemas.microsoft.com/office/drawing/2014/main" id="{F82FC034-4D76-4D3D-A698-867113229284}"/>
                  </a:ext>
                </a:extLst>
              </p:cNvPr>
              <p:cNvSpPr/>
              <p:nvPr userDrawn="1"/>
            </p:nvSpPr>
            <p:spPr>
              <a:xfrm rot="5400000">
                <a:off x="-793853"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1" name="Rechthoek 120">
                <a:extLst>
                  <a:ext uri="{FF2B5EF4-FFF2-40B4-BE49-F238E27FC236}">
                    <a16:creationId xmlns:a16="http://schemas.microsoft.com/office/drawing/2014/main" id="{A0E5BD98-74D7-45F2-91E6-FA905B48179C}"/>
                  </a:ext>
                </a:extLst>
              </p:cNvPr>
              <p:cNvSpPr/>
              <p:nvPr userDrawn="1"/>
            </p:nvSpPr>
            <p:spPr>
              <a:xfrm rot="5400000">
                <a:off x="-758777" y="5325900"/>
                <a:ext cx="36000" cy="36000"/>
              </a:xfrm>
              <a:prstGeom prst="rect">
                <a:avLst/>
              </a:prstGeom>
              <a:solidFill>
                <a:schemeClr val="bg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grpSp>
      <p:sp>
        <p:nvSpPr>
          <p:cNvPr id="129" name="Tekstvak 128">
            <a:extLst>
              <a:ext uri="{FF2B5EF4-FFF2-40B4-BE49-F238E27FC236}">
                <a16:creationId xmlns:a16="http://schemas.microsoft.com/office/drawing/2014/main" id="{94165FBE-E5F2-4D0E-A456-ACE5117FB787}"/>
              </a:ext>
            </a:extLst>
          </p:cNvPr>
          <p:cNvSpPr txBox="1"/>
          <p:nvPr/>
        </p:nvSpPr>
        <p:spPr>
          <a:xfrm>
            <a:off x="-4685622" y="1884692"/>
            <a:ext cx="3930699" cy="1544308"/>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Je kan na het invoegen de foto nog verschuiven en/of  vergroten door de foto t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Selecteren &gt; afbeeldingsopmaak &gt; bijsnijd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gt; image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layou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crop</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u kan je de foto zelf verslepen en/of vergroten/verkleinen in het kader.</a:t>
            </a:r>
          </a:p>
        </p:txBody>
      </p:sp>
    </p:spTree>
    <p:extLst>
      <p:ext uri="{BB962C8B-B14F-4D97-AF65-F5344CB8AC3E}">
        <p14:creationId xmlns:p14="http://schemas.microsoft.com/office/powerpoint/2010/main" val="40578841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able of Content - 4 options">
    <p:spTree>
      <p:nvGrpSpPr>
        <p:cNvPr id="1" name=""/>
        <p:cNvGrpSpPr/>
        <p:nvPr/>
      </p:nvGrpSpPr>
      <p:grpSpPr>
        <a:xfrm>
          <a:off x="0" y="0"/>
          <a:ext cx="0" cy="0"/>
          <a:chOff x="0" y="0"/>
          <a:chExt cx="0" cy="0"/>
        </a:xfrm>
      </p:grpSpPr>
      <p:sp>
        <p:nvSpPr>
          <p:cNvPr id="19" name="Rechthoek 18">
            <a:extLst>
              <a:ext uri="{FF2B5EF4-FFF2-40B4-BE49-F238E27FC236}">
                <a16:creationId xmlns:a16="http://schemas.microsoft.com/office/drawing/2014/main" id="{0EB0BEF7-7A51-4AF5-B44C-BA4BE5376A4F}"/>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jdelijke aanduiding voor tekst 6">
            <a:extLst>
              <a:ext uri="{FF2B5EF4-FFF2-40B4-BE49-F238E27FC236}">
                <a16:creationId xmlns:a16="http://schemas.microsoft.com/office/drawing/2014/main" id="{B91E60E0-1FC2-4982-A642-AD169632EED1}"/>
              </a:ext>
            </a:extLst>
          </p:cNvPr>
          <p:cNvSpPr>
            <a:spLocks noGrp="1"/>
          </p:cNvSpPr>
          <p:nvPr>
            <p:ph type="body" sz="quarter" idx="11" hasCustomPrompt="1"/>
          </p:nvPr>
        </p:nvSpPr>
        <p:spPr>
          <a:xfrm>
            <a:off x="7213600" y="69117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9" name="Tijdelijke aanduiding voor tekst 6">
            <a:extLst>
              <a:ext uri="{FF2B5EF4-FFF2-40B4-BE49-F238E27FC236}">
                <a16:creationId xmlns:a16="http://schemas.microsoft.com/office/drawing/2014/main" id="{1C2BBB1D-61A6-4D19-957B-C932CB58F3E2}"/>
              </a:ext>
            </a:extLst>
          </p:cNvPr>
          <p:cNvSpPr>
            <a:spLocks noGrp="1"/>
          </p:cNvSpPr>
          <p:nvPr>
            <p:ph type="body" sz="quarter" idx="12" hasCustomPrompt="1"/>
          </p:nvPr>
        </p:nvSpPr>
        <p:spPr>
          <a:xfrm>
            <a:off x="6096000" y="6889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0" name="Tijdelijke aanduiding voor tekst 6">
            <a:extLst>
              <a:ext uri="{FF2B5EF4-FFF2-40B4-BE49-F238E27FC236}">
                <a16:creationId xmlns:a16="http://schemas.microsoft.com/office/drawing/2014/main" id="{B09DD24D-7E0B-4D1B-AD33-39719705CFBB}"/>
              </a:ext>
            </a:extLst>
          </p:cNvPr>
          <p:cNvSpPr>
            <a:spLocks noGrp="1"/>
          </p:cNvSpPr>
          <p:nvPr>
            <p:ph type="body" sz="quarter" idx="13" hasCustomPrompt="1"/>
          </p:nvPr>
        </p:nvSpPr>
        <p:spPr>
          <a:xfrm>
            <a:off x="7213600" y="2200680"/>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12" name="Tijdelijke aanduiding voor tekst 6">
            <a:extLst>
              <a:ext uri="{FF2B5EF4-FFF2-40B4-BE49-F238E27FC236}">
                <a16:creationId xmlns:a16="http://schemas.microsoft.com/office/drawing/2014/main" id="{FA8DCC83-98AE-468C-90E2-741B3EFB1837}"/>
              </a:ext>
            </a:extLst>
          </p:cNvPr>
          <p:cNvSpPr>
            <a:spLocks noGrp="1"/>
          </p:cNvSpPr>
          <p:nvPr>
            <p:ph type="body" sz="quarter" idx="14" hasCustomPrompt="1"/>
          </p:nvPr>
        </p:nvSpPr>
        <p:spPr>
          <a:xfrm>
            <a:off x="6096000" y="219847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3" name="Tijdelijke aanduiding voor tekst 6">
            <a:extLst>
              <a:ext uri="{FF2B5EF4-FFF2-40B4-BE49-F238E27FC236}">
                <a16:creationId xmlns:a16="http://schemas.microsoft.com/office/drawing/2014/main" id="{7035A987-E466-41FB-A891-10D37522113B}"/>
              </a:ext>
            </a:extLst>
          </p:cNvPr>
          <p:cNvSpPr>
            <a:spLocks noGrp="1"/>
          </p:cNvSpPr>
          <p:nvPr>
            <p:ph type="body" sz="quarter" idx="15" hasCustomPrompt="1"/>
          </p:nvPr>
        </p:nvSpPr>
        <p:spPr>
          <a:xfrm>
            <a:off x="7213600" y="3710186"/>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15" name="Tijdelijke aanduiding voor tekst 6">
            <a:extLst>
              <a:ext uri="{FF2B5EF4-FFF2-40B4-BE49-F238E27FC236}">
                <a16:creationId xmlns:a16="http://schemas.microsoft.com/office/drawing/2014/main" id="{AB680C88-024B-424F-8EE2-ED41778815ED}"/>
              </a:ext>
            </a:extLst>
          </p:cNvPr>
          <p:cNvSpPr>
            <a:spLocks noGrp="1"/>
          </p:cNvSpPr>
          <p:nvPr>
            <p:ph type="body" sz="quarter" idx="16" hasCustomPrompt="1"/>
          </p:nvPr>
        </p:nvSpPr>
        <p:spPr>
          <a:xfrm>
            <a:off x="6096000" y="3707976"/>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16" name="Tijdelijke aanduiding voor tekst 6">
            <a:extLst>
              <a:ext uri="{FF2B5EF4-FFF2-40B4-BE49-F238E27FC236}">
                <a16:creationId xmlns:a16="http://schemas.microsoft.com/office/drawing/2014/main" id="{38D45C65-C2E6-4C24-AA31-3DA161DEF5E6}"/>
              </a:ext>
            </a:extLst>
          </p:cNvPr>
          <p:cNvSpPr>
            <a:spLocks noGrp="1"/>
          </p:cNvSpPr>
          <p:nvPr>
            <p:ph type="body" sz="quarter" idx="17" hasCustomPrompt="1"/>
          </p:nvPr>
        </p:nvSpPr>
        <p:spPr>
          <a:xfrm>
            <a:off x="7213600" y="5219693"/>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18" name="Tijdelijke aanduiding voor tekst 6">
            <a:extLst>
              <a:ext uri="{FF2B5EF4-FFF2-40B4-BE49-F238E27FC236}">
                <a16:creationId xmlns:a16="http://schemas.microsoft.com/office/drawing/2014/main" id="{B570384C-4A71-4DA5-B91E-0F075C20025D}"/>
              </a:ext>
            </a:extLst>
          </p:cNvPr>
          <p:cNvSpPr>
            <a:spLocks noGrp="1"/>
          </p:cNvSpPr>
          <p:nvPr>
            <p:ph type="body" sz="quarter" idx="18" hasCustomPrompt="1"/>
          </p:nvPr>
        </p:nvSpPr>
        <p:spPr>
          <a:xfrm>
            <a:off x="6096000" y="5217483"/>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3" name="Titel 1">
            <a:extLst>
              <a:ext uri="{FF2B5EF4-FFF2-40B4-BE49-F238E27FC236}">
                <a16:creationId xmlns:a16="http://schemas.microsoft.com/office/drawing/2014/main" id="{A0C511C7-96B3-409B-A041-8C044BC88393}"/>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US"/>
              <a:t>Click to edit Master title style</a:t>
            </a:r>
            <a:endParaRPr lang="en-GB" dirty="0"/>
          </a:p>
        </p:txBody>
      </p:sp>
      <p:sp>
        <p:nvSpPr>
          <p:cNvPr id="24" name="Rechthoek 23">
            <a:extLst>
              <a:ext uri="{FF2B5EF4-FFF2-40B4-BE49-F238E27FC236}">
                <a16:creationId xmlns:a16="http://schemas.microsoft.com/office/drawing/2014/main" id="{D524C7BA-8F5A-42D6-96D4-837ADC8E1027}"/>
              </a:ext>
            </a:extLst>
          </p:cNvPr>
          <p:cNvSpPr/>
          <p:nvPr/>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5" name="Vrije vorm: vorm 24">
            <a:extLst>
              <a:ext uri="{FF2B5EF4-FFF2-40B4-BE49-F238E27FC236}">
                <a16:creationId xmlns:a16="http://schemas.microsoft.com/office/drawing/2014/main" id="{6F331268-3885-4EC4-8FE6-B9E4A0B87F6E}"/>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218792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12">
                                            <p:txEl>
                                              <p:pRg st="0" end="0"/>
                                            </p:txEl>
                                          </p:spTgt>
                                        </p:tgtEl>
                                        <p:attrNameLst>
                                          <p:attrName>style.visibility</p:attrName>
                                        </p:attrNameLst>
                                      </p:cBhvr>
                                      <p:to>
                                        <p:strVal val="visible"/>
                                      </p:to>
                                    </p:set>
                                    <p:anim calcmode="lin" valueType="num">
                                      <p:cBhvr>
                                        <p:cTn id="15" dur="500" fill="hold"/>
                                        <p:tgtEl>
                                          <p:spTgt spid="12">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12">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12">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p:cTn id="23"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15">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13">
                                            <p:txEl>
                                              <p:pRg st="0" end="0"/>
                                            </p:txEl>
                                          </p:spTgt>
                                        </p:tgtEl>
                                        <p:attrNameLst>
                                          <p:attrName>style.visibility</p:attrName>
                                        </p:attrNameLst>
                                      </p:cBhvr>
                                      <p:to>
                                        <p:strVal val="visible"/>
                                      </p:to>
                                    </p:set>
                                    <p:animEffect transition="in" filter="fade">
                                      <p:cBhvr>
                                        <p:cTn id="28" dur="500"/>
                                        <p:tgtEl>
                                          <p:spTgt spid="13">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18">
                                            <p:txEl>
                                              <p:pRg st="0" end="0"/>
                                            </p:txEl>
                                          </p:spTgt>
                                        </p:tgtEl>
                                        <p:attrNameLst>
                                          <p:attrName>style.visibility</p:attrName>
                                        </p:attrNameLst>
                                      </p:cBhvr>
                                      <p:to>
                                        <p:strVal val="visible"/>
                                      </p:to>
                                    </p:set>
                                    <p:anim calcmode="lin" valueType="num">
                                      <p:cBhvr>
                                        <p:cTn id="31" dur="5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18">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18">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9" grpId="0" build="p">
        <p:tmplLst>
          <p:tmpl lvl="1">
            <p:tnLst>
              <p:par>
                <p:cTn presetID="53" presetClass="entr" presetSubtype="16" fill="hold" nodeType="after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p:cTn dur="500" fill="hold"/>
                        <p:tgtEl>
                          <p:spTgt spid="9"/>
                        </p:tgtEl>
                        <p:attrNameLst>
                          <p:attrName>ppt_w</p:attrName>
                        </p:attrNameLst>
                      </p:cBhvr>
                      <p:tavLst>
                        <p:tav tm="0">
                          <p:val>
                            <p:fltVal val="0"/>
                          </p:val>
                        </p:tav>
                        <p:tav tm="100000">
                          <p:val>
                            <p:strVal val="#ppt_w"/>
                          </p:val>
                        </p:tav>
                      </p:tavLst>
                    </p:anim>
                    <p:anim calcmode="lin" valueType="num">
                      <p:cBhvr>
                        <p:cTn dur="500" fill="hold"/>
                        <p:tgtEl>
                          <p:spTgt spid="9"/>
                        </p:tgtEl>
                        <p:attrNameLst>
                          <p:attrName>ppt_h</p:attrName>
                        </p:attrNameLst>
                      </p:cBhvr>
                      <p:tavLst>
                        <p:tav tm="0">
                          <p:val>
                            <p:fltVal val="0"/>
                          </p:val>
                        </p:tav>
                        <p:tav tm="100000">
                          <p:val>
                            <p:strVal val="#ppt_h"/>
                          </p:val>
                        </p:tav>
                      </p:tavLst>
                    </p:anim>
                    <p:animEffect transition="in" filter="fade">
                      <p:cBhvr>
                        <p:cTn dur="500"/>
                        <p:tgtEl>
                          <p:spTgt spid="9"/>
                        </p:tgtEl>
                      </p:cBhvr>
                    </p:animEffect>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53" presetClass="entr" presetSubtype="16" fill="hold" nodeType="withEffect">
                  <p:stCondLst>
                    <p:cond delay="250"/>
                  </p:stCondLst>
                  <p:childTnLst>
                    <p:set>
                      <p:cBhvr>
                        <p:cTn dur="1" fill="hold">
                          <p:stCondLst>
                            <p:cond delay="0"/>
                          </p:stCondLst>
                        </p:cTn>
                        <p:tgtEl>
                          <p:spTgt spid="12"/>
                        </p:tgtEl>
                        <p:attrNameLst>
                          <p:attrName>style.visibility</p:attrName>
                        </p:attrNameLst>
                      </p:cBhvr>
                      <p:to>
                        <p:strVal val="visible"/>
                      </p:to>
                    </p:set>
                    <p:anim calcmode="lin" valueType="num">
                      <p:cBhvr>
                        <p:cTn dur="500" fill="hold"/>
                        <p:tgtEl>
                          <p:spTgt spid="12"/>
                        </p:tgtEl>
                        <p:attrNameLst>
                          <p:attrName>ppt_w</p:attrName>
                        </p:attrNameLst>
                      </p:cBhvr>
                      <p:tavLst>
                        <p:tav tm="0">
                          <p:val>
                            <p:fltVal val="0"/>
                          </p:val>
                        </p:tav>
                        <p:tav tm="100000">
                          <p:val>
                            <p:strVal val="#ppt_w"/>
                          </p:val>
                        </p:tav>
                      </p:tavLst>
                    </p:anim>
                    <p:anim calcmode="lin" valueType="num">
                      <p:cBhvr>
                        <p:cTn dur="500" fill="hold"/>
                        <p:tgtEl>
                          <p:spTgt spid="12"/>
                        </p:tgtEl>
                        <p:attrNameLst>
                          <p:attrName>ppt_h</p:attrName>
                        </p:attrNameLst>
                      </p:cBhvr>
                      <p:tavLst>
                        <p:tav tm="0">
                          <p:val>
                            <p:fltVal val="0"/>
                          </p:val>
                        </p:tav>
                        <p:tav tm="100000">
                          <p:val>
                            <p:strVal val="#ppt_h"/>
                          </p:val>
                        </p:tav>
                      </p:tavLst>
                    </p:anim>
                    <p:animEffect transition="in" filter="fade">
                      <p:cBhvr>
                        <p:cTn dur="500"/>
                        <p:tgtEl>
                          <p:spTgt spid="12"/>
                        </p:tgtEl>
                      </p:cBhvr>
                    </p:animEffect>
                  </p:childTnLst>
                </p:cTn>
              </p:par>
            </p:tnLst>
          </p:tmpl>
        </p:tmplLst>
      </p:bldP>
      <p:bldP spid="13" grpId="0" build="p">
        <p:tmplLst>
          <p:tmpl lvl="1">
            <p:tnLst>
              <p:par>
                <p:cTn presetID="10" presetClass="entr" presetSubtype="0" fill="hold" nodeType="withEffect">
                  <p:stCondLst>
                    <p:cond delay="7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build="p">
        <p:tmplLst>
          <p:tmpl lvl="1">
            <p:tnLst>
              <p:par>
                <p:cTn presetID="53" presetClass="entr" presetSubtype="16"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childTnLst>
                </p:cTn>
              </p:par>
            </p:tnLst>
          </p:tmpl>
        </p:tmplLst>
      </p:bldP>
      <p:bldP spid="16" grpId="0" build="p">
        <p:tmplLst>
          <p:tmpl lvl="1">
            <p:tnLst>
              <p:par>
                <p:cTn presetID="10" presetClass="entr" presetSubtype="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8" grpId="0" build="p">
        <p:tmplLst>
          <p:tmpl lvl="1">
            <p:tnLst>
              <p:par>
                <p:cTn presetID="53" presetClass="entr" presetSubtype="16" fill="hold" nodeType="withEffect">
                  <p:stCondLst>
                    <p:cond delay="750"/>
                  </p:stCondLst>
                  <p:childTnLst>
                    <p:set>
                      <p:cBhvr>
                        <p:cTn dur="1" fill="hold">
                          <p:stCondLst>
                            <p:cond delay="0"/>
                          </p:stCondLst>
                        </p:cTn>
                        <p:tgtEl>
                          <p:spTgt spid="18"/>
                        </p:tgtEl>
                        <p:attrNameLst>
                          <p:attrName>style.visibility</p:attrName>
                        </p:attrNameLst>
                      </p:cBhvr>
                      <p:to>
                        <p:strVal val="visible"/>
                      </p:to>
                    </p:set>
                    <p:anim calcmode="lin" valueType="num">
                      <p:cBhvr>
                        <p:cTn dur="500" fill="hold"/>
                        <p:tgtEl>
                          <p:spTgt spid="18"/>
                        </p:tgtEl>
                        <p:attrNameLst>
                          <p:attrName>ppt_w</p:attrName>
                        </p:attrNameLst>
                      </p:cBhvr>
                      <p:tavLst>
                        <p:tav tm="0">
                          <p:val>
                            <p:fltVal val="0"/>
                          </p:val>
                        </p:tav>
                        <p:tav tm="100000">
                          <p:val>
                            <p:strVal val="#ppt_w"/>
                          </p:val>
                        </p:tav>
                      </p:tavLst>
                    </p:anim>
                    <p:anim calcmode="lin" valueType="num">
                      <p:cBhvr>
                        <p:cTn dur="500" fill="hold"/>
                        <p:tgtEl>
                          <p:spTgt spid="18"/>
                        </p:tgtEl>
                        <p:attrNameLst>
                          <p:attrName>ppt_h</p:attrName>
                        </p:attrNameLst>
                      </p:cBhvr>
                      <p:tavLst>
                        <p:tav tm="0">
                          <p:val>
                            <p:fltVal val="0"/>
                          </p:val>
                        </p:tav>
                        <p:tav tm="100000">
                          <p:val>
                            <p:strVal val="#ppt_h"/>
                          </p:val>
                        </p:tav>
                      </p:tavLst>
                    </p:anim>
                    <p:animEffect transition="in" filter="fade">
                      <p:cBhvr>
                        <p:cTn dur="500"/>
                        <p:tgtEl>
                          <p:spTgt spid="18"/>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able of Content - 5 options">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87814AB9-41F7-40BF-8647-FDB9040C1763}"/>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jdelijke aanduiding voor tekst 6">
            <a:extLst>
              <a:ext uri="{FF2B5EF4-FFF2-40B4-BE49-F238E27FC236}">
                <a16:creationId xmlns:a16="http://schemas.microsoft.com/office/drawing/2014/main" id="{4DF14E8A-3E8B-4EDA-B767-F706F5790435}"/>
              </a:ext>
            </a:extLst>
          </p:cNvPr>
          <p:cNvSpPr>
            <a:spLocks noGrp="1"/>
          </p:cNvSpPr>
          <p:nvPr>
            <p:ph type="body" sz="quarter" idx="11" hasCustomPrompt="1"/>
          </p:nvPr>
        </p:nvSpPr>
        <p:spPr>
          <a:xfrm>
            <a:off x="7213600" y="66989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21" name="Tijdelijke aanduiding voor tekst 6">
            <a:extLst>
              <a:ext uri="{FF2B5EF4-FFF2-40B4-BE49-F238E27FC236}">
                <a16:creationId xmlns:a16="http://schemas.microsoft.com/office/drawing/2014/main" id="{0C122310-07A2-4803-A0F0-51718B05AAA5}"/>
              </a:ext>
            </a:extLst>
          </p:cNvPr>
          <p:cNvSpPr>
            <a:spLocks noGrp="1"/>
          </p:cNvSpPr>
          <p:nvPr>
            <p:ph type="body" sz="quarter" idx="12" hasCustomPrompt="1"/>
          </p:nvPr>
        </p:nvSpPr>
        <p:spPr>
          <a:xfrm>
            <a:off x="6096000" y="687890"/>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2" name="Tijdelijke aanduiding voor tekst 6">
            <a:extLst>
              <a:ext uri="{FF2B5EF4-FFF2-40B4-BE49-F238E27FC236}">
                <a16:creationId xmlns:a16="http://schemas.microsoft.com/office/drawing/2014/main" id="{A1D757A3-6F6A-4927-A411-C14813259129}"/>
              </a:ext>
            </a:extLst>
          </p:cNvPr>
          <p:cNvSpPr>
            <a:spLocks noGrp="1"/>
          </p:cNvSpPr>
          <p:nvPr>
            <p:ph type="body" sz="quarter" idx="13" hasCustomPrompt="1"/>
          </p:nvPr>
        </p:nvSpPr>
        <p:spPr>
          <a:xfrm>
            <a:off x="7213600" y="191553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24" name="Tijdelijke aanduiding voor tekst 6">
            <a:extLst>
              <a:ext uri="{FF2B5EF4-FFF2-40B4-BE49-F238E27FC236}">
                <a16:creationId xmlns:a16="http://schemas.microsoft.com/office/drawing/2014/main" id="{F696F097-32D7-48C2-82E1-6D1A99BAC116}"/>
              </a:ext>
            </a:extLst>
          </p:cNvPr>
          <p:cNvSpPr>
            <a:spLocks noGrp="1"/>
          </p:cNvSpPr>
          <p:nvPr>
            <p:ph type="body" sz="quarter" idx="14" hasCustomPrompt="1"/>
          </p:nvPr>
        </p:nvSpPr>
        <p:spPr>
          <a:xfrm>
            <a:off x="6096000" y="1928759"/>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5" name="Tijdelijke aanduiding voor tekst 6">
            <a:extLst>
              <a:ext uri="{FF2B5EF4-FFF2-40B4-BE49-F238E27FC236}">
                <a16:creationId xmlns:a16="http://schemas.microsoft.com/office/drawing/2014/main" id="{11DBE0EE-24F8-41A6-ABB9-DE0D5621B53F}"/>
              </a:ext>
            </a:extLst>
          </p:cNvPr>
          <p:cNvSpPr>
            <a:spLocks noGrp="1"/>
          </p:cNvSpPr>
          <p:nvPr>
            <p:ph type="body" sz="quarter" idx="15" hasCustomPrompt="1"/>
          </p:nvPr>
        </p:nvSpPr>
        <p:spPr>
          <a:xfrm>
            <a:off x="7213600" y="3161169"/>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27" name="Tijdelijke aanduiding voor tekst 6">
            <a:extLst>
              <a:ext uri="{FF2B5EF4-FFF2-40B4-BE49-F238E27FC236}">
                <a16:creationId xmlns:a16="http://schemas.microsoft.com/office/drawing/2014/main" id="{68B23351-618B-46E5-AEA9-062EDBCFD744}"/>
              </a:ext>
            </a:extLst>
          </p:cNvPr>
          <p:cNvSpPr>
            <a:spLocks noGrp="1"/>
          </p:cNvSpPr>
          <p:nvPr>
            <p:ph type="body" sz="quarter" idx="16" hasCustomPrompt="1"/>
          </p:nvPr>
        </p:nvSpPr>
        <p:spPr>
          <a:xfrm>
            <a:off x="6096000" y="3169627"/>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8" name="Tijdelijke aanduiding voor tekst 6">
            <a:extLst>
              <a:ext uri="{FF2B5EF4-FFF2-40B4-BE49-F238E27FC236}">
                <a16:creationId xmlns:a16="http://schemas.microsoft.com/office/drawing/2014/main" id="{AD1464DB-4D63-46FE-84A3-9F20F7D8F08A}"/>
              </a:ext>
            </a:extLst>
          </p:cNvPr>
          <p:cNvSpPr>
            <a:spLocks noGrp="1"/>
          </p:cNvSpPr>
          <p:nvPr>
            <p:ph type="body" sz="quarter" idx="17" hasCustomPrompt="1"/>
          </p:nvPr>
        </p:nvSpPr>
        <p:spPr>
          <a:xfrm>
            <a:off x="7213600" y="4406804"/>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30" name="Tijdelijke aanduiding voor tekst 6">
            <a:extLst>
              <a:ext uri="{FF2B5EF4-FFF2-40B4-BE49-F238E27FC236}">
                <a16:creationId xmlns:a16="http://schemas.microsoft.com/office/drawing/2014/main" id="{99A3893D-C7DC-4646-BB9E-6B7C635BD2DD}"/>
              </a:ext>
            </a:extLst>
          </p:cNvPr>
          <p:cNvSpPr>
            <a:spLocks noGrp="1"/>
          </p:cNvSpPr>
          <p:nvPr>
            <p:ph type="body" sz="quarter" idx="18" hasCustomPrompt="1"/>
          </p:nvPr>
        </p:nvSpPr>
        <p:spPr>
          <a:xfrm>
            <a:off x="6096000" y="4410495"/>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1" name="Tijdelijke aanduiding voor tekst 6">
            <a:extLst>
              <a:ext uri="{FF2B5EF4-FFF2-40B4-BE49-F238E27FC236}">
                <a16:creationId xmlns:a16="http://schemas.microsoft.com/office/drawing/2014/main" id="{54704A45-1EF0-484F-B81D-2409AB67CF82}"/>
              </a:ext>
            </a:extLst>
          </p:cNvPr>
          <p:cNvSpPr>
            <a:spLocks noGrp="1"/>
          </p:cNvSpPr>
          <p:nvPr>
            <p:ph type="body" sz="quarter" idx="19" hasCustomPrompt="1"/>
          </p:nvPr>
        </p:nvSpPr>
        <p:spPr>
          <a:xfrm>
            <a:off x="7213600" y="5652438"/>
            <a:ext cx="3937000" cy="495299"/>
          </a:xfrm>
          <a:prstGeom prst="rect">
            <a:avLst/>
          </a:prstGeom>
        </p:spPr>
        <p:txBody>
          <a:bodyPr lIns="0" rIns="0" anchor="b"/>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33" name="Tijdelijke aanduiding voor tekst 6">
            <a:extLst>
              <a:ext uri="{FF2B5EF4-FFF2-40B4-BE49-F238E27FC236}">
                <a16:creationId xmlns:a16="http://schemas.microsoft.com/office/drawing/2014/main" id="{80D1DD23-69C4-4F3F-9241-CA358336F88A}"/>
              </a:ext>
            </a:extLst>
          </p:cNvPr>
          <p:cNvSpPr>
            <a:spLocks noGrp="1"/>
          </p:cNvSpPr>
          <p:nvPr>
            <p:ph type="body" sz="quarter" idx="20" hasCustomPrompt="1"/>
          </p:nvPr>
        </p:nvSpPr>
        <p:spPr>
          <a:xfrm>
            <a:off x="6096000" y="5651364"/>
            <a:ext cx="812800"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0" name="Titel 1">
            <a:extLst>
              <a:ext uri="{FF2B5EF4-FFF2-40B4-BE49-F238E27FC236}">
                <a16:creationId xmlns:a16="http://schemas.microsoft.com/office/drawing/2014/main" id="{0888842D-915C-4706-A238-F52B943030DF}"/>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US"/>
              <a:t>Click to edit Master title style</a:t>
            </a:r>
            <a:endParaRPr lang="en-GB" dirty="0"/>
          </a:p>
        </p:txBody>
      </p:sp>
      <p:sp>
        <p:nvSpPr>
          <p:cNvPr id="20" name="Rechthoek 19">
            <a:extLst>
              <a:ext uri="{FF2B5EF4-FFF2-40B4-BE49-F238E27FC236}">
                <a16:creationId xmlns:a16="http://schemas.microsoft.com/office/drawing/2014/main" id="{0B0AF78A-CFDF-45EA-91E2-CE2CAF4531E8}"/>
              </a:ext>
            </a:extLst>
          </p:cNvPr>
          <p:cNvSpPr/>
          <p:nvPr/>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3" name="Vrije vorm: vorm 22">
            <a:extLst>
              <a:ext uri="{FF2B5EF4-FFF2-40B4-BE49-F238E27FC236}">
                <a16:creationId xmlns:a16="http://schemas.microsoft.com/office/drawing/2014/main" id="{772DCC81-64A9-400B-ACBA-F381B6B9AC70}"/>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182999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p:cTn id="7"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1">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19">
                                            <p:txEl>
                                              <p:pRg st="0" end="0"/>
                                            </p:txEl>
                                          </p:spTgt>
                                        </p:tgtEl>
                                        <p:attrNameLst>
                                          <p:attrName>style.visibility</p:attrName>
                                        </p:attrNameLst>
                                      </p:cBhvr>
                                      <p:to>
                                        <p:strVal val="visible"/>
                                      </p:to>
                                    </p:set>
                                    <p:animEffect transition="in" filter="fade">
                                      <p:cBhvr>
                                        <p:cTn id="12" dur="500"/>
                                        <p:tgtEl>
                                          <p:spTgt spid="19">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24">
                                            <p:txEl>
                                              <p:pRg st="0" end="0"/>
                                            </p:txEl>
                                          </p:spTgt>
                                        </p:tgtEl>
                                        <p:attrNameLst>
                                          <p:attrName>style.visibility</p:attrName>
                                        </p:attrNameLst>
                                      </p:cBhvr>
                                      <p:to>
                                        <p:strVal val="visible"/>
                                      </p:to>
                                    </p:set>
                                    <p:anim calcmode="lin" valueType="num">
                                      <p:cBhvr>
                                        <p:cTn id="15" dur="500" fill="hold"/>
                                        <p:tgtEl>
                                          <p:spTgt spid="24">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24">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24">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2">
                                            <p:txEl>
                                              <p:pRg st="0" end="0"/>
                                            </p:txEl>
                                          </p:spTgt>
                                        </p:tgtEl>
                                        <p:attrNameLst>
                                          <p:attrName>style.visibility</p:attrName>
                                        </p:attrNameLst>
                                      </p:cBhvr>
                                      <p:to>
                                        <p:strVal val="visible"/>
                                      </p:to>
                                    </p:set>
                                    <p:animEffect transition="in" filter="fade">
                                      <p:cBhvr>
                                        <p:cTn id="20" dur="500"/>
                                        <p:tgtEl>
                                          <p:spTgt spid="22">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27">
                                            <p:txEl>
                                              <p:pRg st="0" end="0"/>
                                            </p:txEl>
                                          </p:spTgt>
                                        </p:tgtEl>
                                        <p:attrNameLst>
                                          <p:attrName>style.visibility</p:attrName>
                                        </p:attrNameLst>
                                      </p:cBhvr>
                                      <p:to>
                                        <p:strVal val="visible"/>
                                      </p:to>
                                    </p:set>
                                    <p:anim calcmode="lin" valueType="num">
                                      <p:cBhvr>
                                        <p:cTn id="23" dur="500" fill="hold"/>
                                        <p:tgtEl>
                                          <p:spTgt spid="27">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27">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27">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25">
                                            <p:txEl>
                                              <p:pRg st="0" end="0"/>
                                            </p:txEl>
                                          </p:spTgt>
                                        </p:tgtEl>
                                        <p:attrNameLst>
                                          <p:attrName>style.visibility</p:attrName>
                                        </p:attrNameLst>
                                      </p:cBhvr>
                                      <p:to>
                                        <p:strVal val="visible"/>
                                      </p:to>
                                    </p:set>
                                    <p:animEffect transition="in" filter="fade">
                                      <p:cBhvr>
                                        <p:cTn id="28" dur="500"/>
                                        <p:tgtEl>
                                          <p:spTgt spid="25">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p:cTn id="31" dur="500" fill="hold"/>
                                        <p:tgtEl>
                                          <p:spTgt spid="30">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30">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30">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8">
                                            <p:txEl>
                                              <p:pRg st="0" end="0"/>
                                            </p:txEl>
                                          </p:spTgt>
                                        </p:tgtEl>
                                        <p:attrNameLst>
                                          <p:attrName>style.visibility</p:attrName>
                                        </p:attrNameLst>
                                      </p:cBhvr>
                                      <p:to>
                                        <p:strVal val="visible"/>
                                      </p:to>
                                    </p:set>
                                    <p:animEffect transition="in" filter="fade">
                                      <p:cBhvr>
                                        <p:cTn id="36" dur="500"/>
                                        <p:tgtEl>
                                          <p:spTgt spid="28">
                                            <p:txEl>
                                              <p:pRg st="0" end="0"/>
                                            </p:txEl>
                                          </p:spTgt>
                                        </p:tgtEl>
                                      </p:cBhvr>
                                    </p:animEffect>
                                  </p:childTnLst>
                                </p:cTn>
                              </p:par>
                              <p:par>
                                <p:cTn id="37" presetID="53" presetClass="entr" presetSubtype="16" fill="hold" grpId="0" nodeType="withEffect">
                                  <p:stCondLst>
                                    <p:cond delay="750"/>
                                  </p:stCondLst>
                                  <p:childTnLst>
                                    <p:set>
                                      <p:cBhvr>
                                        <p:cTn id="38" dur="1" fill="hold">
                                          <p:stCondLst>
                                            <p:cond delay="0"/>
                                          </p:stCondLst>
                                        </p:cTn>
                                        <p:tgtEl>
                                          <p:spTgt spid="33">
                                            <p:txEl>
                                              <p:pRg st="0" end="0"/>
                                            </p:txEl>
                                          </p:spTgt>
                                        </p:tgtEl>
                                        <p:attrNameLst>
                                          <p:attrName>style.visibility</p:attrName>
                                        </p:attrNameLst>
                                      </p:cBhvr>
                                      <p:to>
                                        <p:strVal val="visible"/>
                                      </p:to>
                                    </p:set>
                                    <p:anim calcmode="lin" valueType="num">
                                      <p:cBhvr>
                                        <p:cTn id="39" dur="500" fill="hold"/>
                                        <p:tgtEl>
                                          <p:spTgt spid="33">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33">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33">
                                            <p:txEl>
                                              <p:pRg st="0" end="0"/>
                                            </p:txEl>
                                          </p:spTgt>
                                        </p:tgtEl>
                                      </p:cBhvr>
                                    </p:animEffect>
                                  </p:childTnLst>
                                </p:cTn>
                              </p:par>
                              <p:par>
                                <p:cTn id="42" presetID="10" presetClass="entr" presetSubtype="0" fill="hold" grpId="0" nodeType="withEffect">
                                  <p:stCondLst>
                                    <p:cond delay="1000"/>
                                  </p:stCondLst>
                                  <p:childTnLst>
                                    <p:set>
                                      <p:cBhvr>
                                        <p:cTn id="43" dur="1" fill="hold">
                                          <p:stCondLst>
                                            <p:cond delay="0"/>
                                          </p:stCondLst>
                                        </p:cTn>
                                        <p:tgtEl>
                                          <p:spTgt spid="31">
                                            <p:txEl>
                                              <p:pRg st="0" end="0"/>
                                            </p:txEl>
                                          </p:spTgt>
                                        </p:tgtEl>
                                        <p:attrNameLst>
                                          <p:attrName>style.visibility</p:attrName>
                                        </p:attrNameLst>
                                      </p:cBhvr>
                                      <p:to>
                                        <p:strVal val="visible"/>
                                      </p:to>
                                    </p:set>
                                    <p:animEffect transition="in" filter="fade">
                                      <p:cBhvr>
                                        <p:cTn id="44"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tmplLst>
          <p:tmpl lvl="1">
            <p:tnLst>
              <p:par>
                <p:cTn presetID="10" presetClass="entr" presetSubtype="0" fill="hold" nodeType="withEffect">
                  <p:stCondLst>
                    <p:cond delay="25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1" grpId="0" build="p">
        <p:tmplLst>
          <p:tmpl lvl="1">
            <p:tnLst>
              <p:par>
                <p:cTn presetID="53" presetClass="entr" presetSubtype="16"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childTnLst>
                </p:cTn>
              </p:par>
            </p:tnLst>
          </p:tmpl>
        </p:tmplLst>
      </p:bldP>
      <p:bldP spid="22" grpId="0" build="p">
        <p:tmplLst>
          <p:tmpl lvl="1">
            <p:tnLst>
              <p:par>
                <p:cTn presetID="10" presetClass="entr" presetSubtype="0" fill="hold" nodeType="withEffect">
                  <p:stCondLst>
                    <p:cond delay="50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4" grpId="0" build="p">
        <p:tmplLst>
          <p:tmpl lvl="1">
            <p:tnLst>
              <p:par>
                <p:cTn presetID="53" presetClass="entr" presetSubtype="16" fill="hold" nodeType="withEffect">
                  <p:stCondLst>
                    <p:cond delay="250"/>
                  </p:stCondLst>
                  <p:childTnLst>
                    <p:set>
                      <p:cBhvr>
                        <p:cTn dur="1" fill="hold">
                          <p:stCondLst>
                            <p:cond delay="0"/>
                          </p:stCondLst>
                        </p:cTn>
                        <p:tgtEl>
                          <p:spTgt spid="24"/>
                        </p:tgtEl>
                        <p:attrNameLst>
                          <p:attrName>style.visibility</p:attrName>
                        </p:attrNameLst>
                      </p:cBhvr>
                      <p:to>
                        <p:strVal val="visible"/>
                      </p:to>
                    </p:set>
                    <p:anim calcmode="lin" valueType="num">
                      <p:cBhvr>
                        <p:cTn dur="500" fill="hold"/>
                        <p:tgtEl>
                          <p:spTgt spid="24"/>
                        </p:tgtEl>
                        <p:attrNameLst>
                          <p:attrName>ppt_w</p:attrName>
                        </p:attrNameLst>
                      </p:cBhvr>
                      <p:tavLst>
                        <p:tav tm="0">
                          <p:val>
                            <p:fltVal val="0"/>
                          </p:val>
                        </p:tav>
                        <p:tav tm="100000">
                          <p:val>
                            <p:strVal val="#ppt_w"/>
                          </p:val>
                        </p:tav>
                      </p:tavLst>
                    </p:anim>
                    <p:anim calcmode="lin" valueType="num">
                      <p:cBhvr>
                        <p:cTn dur="500" fill="hold"/>
                        <p:tgtEl>
                          <p:spTgt spid="24"/>
                        </p:tgtEl>
                        <p:attrNameLst>
                          <p:attrName>ppt_h</p:attrName>
                        </p:attrNameLst>
                      </p:cBhvr>
                      <p:tavLst>
                        <p:tav tm="0">
                          <p:val>
                            <p:fltVal val="0"/>
                          </p:val>
                        </p:tav>
                        <p:tav tm="100000">
                          <p:val>
                            <p:strVal val="#ppt_h"/>
                          </p:val>
                        </p:tav>
                      </p:tavLst>
                    </p:anim>
                    <p:animEffect transition="in" filter="fade">
                      <p:cBhvr>
                        <p:cTn dur="500"/>
                        <p:tgtEl>
                          <p:spTgt spid="24"/>
                        </p:tgtEl>
                      </p:cBhvr>
                    </p:animEffect>
                  </p:childTnLst>
                </p:cTn>
              </p:par>
            </p:tnLst>
          </p:tmpl>
        </p:tmplLst>
      </p:bldP>
      <p:bldP spid="25" grpId="0" build="p">
        <p:tmplLst>
          <p:tmpl lvl="1">
            <p:tnLst>
              <p:par>
                <p:cTn presetID="10" presetClass="entr" presetSubtype="0" fill="hold" nodeType="withEffect">
                  <p:stCondLst>
                    <p:cond delay="75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7" grpId="0" build="p">
        <p:tmplLst>
          <p:tmpl lvl="1">
            <p:tnLst>
              <p:par>
                <p:cTn presetID="53" presetClass="entr" presetSubtype="16" fill="hold" nodeType="withEffect">
                  <p:stCondLst>
                    <p:cond delay="500"/>
                  </p:stCondLst>
                  <p:childTnLst>
                    <p:set>
                      <p:cBhvr>
                        <p:cTn dur="1" fill="hold">
                          <p:stCondLst>
                            <p:cond delay="0"/>
                          </p:stCondLst>
                        </p:cTn>
                        <p:tgtEl>
                          <p:spTgt spid="27"/>
                        </p:tgtEl>
                        <p:attrNameLst>
                          <p:attrName>style.visibility</p:attrName>
                        </p:attrNameLst>
                      </p:cBhvr>
                      <p:to>
                        <p:strVal val="visible"/>
                      </p:to>
                    </p:set>
                    <p:anim calcmode="lin" valueType="num">
                      <p:cBhvr>
                        <p:cTn dur="500" fill="hold"/>
                        <p:tgtEl>
                          <p:spTgt spid="27"/>
                        </p:tgtEl>
                        <p:attrNameLst>
                          <p:attrName>ppt_w</p:attrName>
                        </p:attrNameLst>
                      </p:cBhvr>
                      <p:tavLst>
                        <p:tav tm="0">
                          <p:val>
                            <p:fltVal val="0"/>
                          </p:val>
                        </p:tav>
                        <p:tav tm="100000">
                          <p:val>
                            <p:strVal val="#ppt_w"/>
                          </p:val>
                        </p:tav>
                      </p:tavLst>
                    </p:anim>
                    <p:anim calcmode="lin" valueType="num">
                      <p:cBhvr>
                        <p:cTn dur="500" fill="hold"/>
                        <p:tgtEl>
                          <p:spTgt spid="27"/>
                        </p:tgtEl>
                        <p:attrNameLst>
                          <p:attrName>ppt_h</p:attrName>
                        </p:attrNameLst>
                      </p:cBhvr>
                      <p:tavLst>
                        <p:tav tm="0">
                          <p:val>
                            <p:fltVal val="0"/>
                          </p:val>
                        </p:tav>
                        <p:tav tm="100000">
                          <p:val>
                            <p:strVal val="#ppt_h"/>
                          </p:val>
                        </p:tav>
                      </p:tavLst>
                    </p:anim>
                    <p:animEffect transition="in" filter="fade">
                      <p:cBhvr>
                        <p:cTn dur="500"/>
                        <p:tgtEl>
                          <p:spTgt spid="27"/>
                        </p:tgtEl>
                      </p:cBhvr>
                    </p:animEffect>
                  </p:childTnLst>
                </p:cTn>
              </p:par>
            </p:tnLst>
          </p:tmpl>
        </p:tmplLst>
      </p:bldP>
      <p:bldP spid="28" grpId="0" build="p">
        <p:tmplLst>
          <p:tmpl lvl="1">
            <p:tnLst>
              <p:par>
                <p:cTn presetID="10" presetClass="entr" presetSubtype="0" fill="hold" nodeType="withEffect">
                  <p:stCondLst>
                    <p:cond delay="1000"/>
                  </p:st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30" grpId="0" build="p">
        <p:tmplLst>
          <p:tmpl lvl="1">
            <p:tnLst>
              <p:par>
                <p:cTn presetID="53" presetClass="entr" presetSubtype="16" fill="hold" nodeType="withEffect">
                  <p:stCondLst>
                    <p:cond delay="750"/>
                  </p:stCondLst>
                  <p:childTnLst>
                    <p:set>
                      <p:cBhvr>
                        <p:cTn dur="1" fill="hold">
                          <p:stCondLst>
                            <p:cond delay="0"/>
                          </p:stCondLst>
                        </p:cTn>
                        <p:tgtEl>
                          <p:spTgt spid="30"/>
                        </p:tgtEl>
                        <p:attrNameLst>
                          <p:attrName>style.visibility</p:attrName>
                        </p:attrNameLst>
                      </p:cBhvr>
                      <p:to>
                        <p:strVal val="visible"/>
                      </p:to>
                    </p:set>
                    <p:anim calcmode="lin" valueType="num">
                      <p:cBhvr>
                        <p:cTn dur="500" fill="hold"/>
                        <p:tgtEl>
                          <p:spTgt spid="30"/>
                        </p:tgtEl>
                        <p:attrNameLst>
                          <p:attrName>ppt_w</p:attrName>
                        </p:attrNameLst>
                      </p:cBhvr>
                      <p:tavLst>
                        <p:tav tm="0">
                          <p:val>
                            <p:fltVal val="0"/>
                          </p:val>
                        </p:tav>
                        <p:tav tm="100000">
                          <p:val>
                            <p:strVal val="#ppt_w"/>
                          </p:val>
                        </p:tav>
                      </p:tavLst>
                    </p:anim>
                    <p:anim calcmode="lin" valueType="num">
                      <p:cBhvr>
                        <p:cTn dur="500" fill="hold"/>
                        <p:tgtEl>
                          <p:spTgt spid="30"/>
                        </p:tgtEl>
                        <p:attrNameLst>
                          <p:attrName>ppt_h</p:attrName>
                        </p:attrNameLst>
                      </p:cBhvr>
                      <p:tavLst>
                        <p:tav tm="0">
                          <p:val>
                            <p:fltVal val="0"/>
                          </p:val>
                        </p:tav>
                        <p:tav tm="100000">
                          <p:val>
                            <p:strVal val="#ppt_h"/>
                          </p:val>
                        </p:tav>
                      </p:tavLst>
                    </p:anim>
                    <p:animEffect transition="in" filter="fade">
                      <p:cBhvr>
                        <p:cTn dur="500"/>
                        <p:tgtEl>
                          <p:spTgt spid="30"/>
                        </p:tgtEl>
                      </p:cBhvr>
                    </p:animEffect>
                  </p:childTnLst>
                </p:cTn>
              </p:par>
            </p:tnLst>
          </p:tmpl>
        </p:tmplLst>
      </p:bldP>
      <p:bldP spid="31" grpId="0" build="p">
        <p:tmplLst>
          <p:tmpl lvl="1">
            <p:tnLst>
              <p:par>
                <p:cTn presetID="10" presetClass="entr" presetSubtype="0" fill="hold" nodeType="withEffect">
                  <p:stCondLst>
                    <p:cond delay="1000"/>
                  </p:st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3" grpId="0" build="p">
        <p:tmplLst>
          <p:tmpl lvl="1">
            <p:tnLst>
              <p:par>
                <p:cTn presetID="53" presetClass="entr" presetSubtype="16" fill="hold" nodeType="withEffect">
                  <p:stCondLst>
                    <p:cond delay="750"/>
                  </p:stCondLst>
                  <p:childTnLst>
                    <p:set>
                      <p:cBhvr>
                        <p:cTn dur="1" fill="hold">
                          <p:stCondLst>
                            <p:cond delay="0"/>
                          </p:stCondLst>
                        </p:cTn>
                        <p:tgtEl>
                          <p:spTgt spid="33"/>
                        </p:tgtEl>
                        <p:attrNameLst>
                          <p:attrName>style.visibility</p:attrName>
                        </p:attrNameLst>
                      </p:cBhvr>
                      <p:to>
                        <p:strVal val="visible"/>
                      </p:to>
                    </p:set>
                    <p:anim calcmode="lin" valueType="num">
                      <p:cBhvr>
                        <p:cTn dur="500" fill="hold"/>
                        <p:tgtEl>
                          <p:spTgt spid="33"/>
                        </p:tgtEl>
                        <p:attrNameLst>
                          <p:attrName>ppt_w</p:attrName>
                        </p:attrNameLst>
                      </p:cBhvr>
                      <p:tavLst>
                        <p:tav tm="0">
                          <p:val>
                            <p:fltVal val="0"/>
                          </p:val>
                        </p:tav>
                        <p:tav tm="100000">
                          <p:val>
                            <p:strVal val="#ppt_w"/>
                          </p:val>
                        </p:tav>
                      </p:tavLst>
                    </p:anim>
                    <p:anim calcmode="lin" valueType="num">
                      <p:cBhvr>
                        <p:cTn dur="500" fill="hold"/>
                        <p:tgtEl>
                          <p:spTgt spid="33"/>
                        </p:tgtEl>
                        <p:attrNameLst>
                          <p:attrName>ppt_h</p:attrName>
                        </p:attrNameLst>
                      </p:cBhvr>
                      <p:tavLst>
                        <p:tav tm="0">
                          <p:val>
                            <p:fltVal val="0"/>
                          </p:val>
                        </p:tav>
                        <p:tav tm="100000">
                          <p:val>
                            <p:strVal val="#ppt_h"/>
                          </p:val>
                        </p:tav>
                      </p:tavLst>
                    </p:anim>
                    <p:animEffect transition="in" filter="fade">
                      <p:cBhvr>
                        <p:cTn dur="500"/>
                        <p:tgtEl>
                          <p:spTgt spid="3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able of Content - 6 options">
    <p:spTree>
      <p:nvGrpSpPr>
        <p:cNvPr id="1" name=""/>
        <p:cNvGrpSpPr/>
        <p:nvPr/>
      </p:nvGrpSpPr>
      <p:grpSpPr>
        <a:xfrm>
          <a:off x="0" y="0"/>
          <a:ext cx="0" cy="0"/>
          <a:chOff x="0" y="0"/>
          <a:chExt cx="0" cy="0"/>
        </a:xfrm>
      </p:grpSpPr>
      <p:sp>
        <p:nvSpPr>
          <p:cNvPr id="24" name="Rechthoek 23">
            <a:extLst>
              <a:ext uri="{FF2B5EF4-FFF2-40B4-BE49-F238E27FC236}">
                <a16:creationId xmlns:a16="http://schemas.microsoft.com/office/drawing/2014/main" id="{292D42E4-7FA5-4464-8B14-81245AAFCA1A}"/>
              </a:ext>
            </a:extLst>
          </p:cNvPr>
          <p:cNvSpPr/>
          <p:nvPr/>
        </p:nvSpPr>
        <p:spPr>
          <a:xfrm>
            <a:off x="0" y="0"/>
            <a:ext cx="12192000" cy="6858000"/>
          </a:xfrm>
          <a:prstGeom prst="rect">
            <a:avLst/>
          </a:prstGeom>
          <a:gradFill>
            <a:gsLst>
              <a:gs pos="0">
                <a:schemeClr val="accent1"/>
              </a:gs>
              <a:gs pos="100000">
                <a:schemeClr val="accent2"/>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ijdelijke aanduiding voor tekst 6">
            <a:extLst>
              <a:ext uri="{FF2B5EF4-FFF2-40B4-BE49-F238E27FC236}">
                <a16:creationId xmlns:a16="http://schemas.microsoft.com/office/drawing/2014/main" id="{09D6A89B-BA0C-4DA1-A3DE-F6AC65D41161}"/>
              </a:ext>
            </a:extLst>
          </p:cNvPr>
          <p:cNvSpPr>
            <a:spLocks noGrp="1"/>
          </p:cNvSpPr>
          <p:nvPr>
            <p:ph type="body" sz="quarter" idx="11" hasCustomPrompt="1"/>
          </p:nvPr>
        </p:nvSpPr>
        <p:spPr>
          <a:xfrm>
            <a:off x="7205400" y="66065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1</a:t>
            </a:r>
          </a:p>
        </p:txBody>
      </p:sp>
      <p:sp>
        <p:nvSpPr>
          <p:cNvPr id="36" name="Tijdelijke aanduiding voor tekst 6">
            <a:extLst>
              <a:ext uri="{FF2B5EF4-FFF2-40B4-BE49-F238E27FC236}">
                <a16:creationId xmlns:a16="http://schemas.microsoft.com/office/drawing/2014/main" id="{5F2A2271-6BD1-4339-BFB3-F6D3DE71D09B}"/>
              </a:ext>
            </a:extLst>
          </p:cNvPr>
          <p:cNvSpPr>
            <a:spLocks noGrp="1"/>
          </p:cNvSpPr>
          <p:nvPr>
            <p:ph type="body" sz="quarter" idx="12" hasCustomPrompt="1"/>
          </p:nvPr>
        </p:nvSpPr>
        <p:spPr>
          <a:xfrm>
            <a:off x="6096000" y="66493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37" name="Tijdelijke aanduiding voor tekst 6">
            <a:extLst>
              <a:ext uri="{FF2B5EF4-FFF2-40B4-BE49-F238E27FC236}">
                <a16:creationId xmlns:a16="http://schemas.microsoft.com/office/drawing/2014/main" id="{36B5A4FB-5A48-4A04-BCFD-9124FD65C728}"/>
              </a:ext>
            </a:extLst>
          </p:cNvPr>
          <p:cNvSpPr>
            <a:spLocks noGrp="1"/>
          </p:cNvSpPr>
          <p:nvPr>
            <p:ph type="body" sz="quarter" idx="13" hasCustomPrompt="1"/>
          </p:nvPr>
        </p:nvSpPr>
        <p:spPr>
          <a:xfrm>
            <a:off x="7205400" y="1647962"/>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2</a:t>
            </a:r>
          </a:p>
        </p:txBody>
      </p:sp>
      <p:sp>
        <p:nvSpPr>
          <p:cNvPr id="41" name="Tijdelijke aanduiding voor tekst 6">
            <a:extLst>
              <a:ext uri="{FF2B5EF4-FFF2-40B4-BE49-F238E27FC236}">
                <a16:creationId xmlns:a16="http://schemas.microsoft.com/office/drawing/2014/main" id="{CCF525E0-4544-4557-94D1-DEAECA0CE1F0}"/>
              </a:ext>
            </a:extLst>
          </p:cNvPr>
          <p:cNvSpPr>
            <a:spLocks noGrp="1"/>
          </p:cNvSpPr>
          <p:nvPr>
            <p:ph type="body" sz="quarter" idx="14" hasCustomPrompt="1"/>
          </p:nvPr>
        </p:nvSpPr>
        <p:spPr>
          <a:xfrm>
            <a:off x="6096000" y="1652238"/>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2" name="Tijdelijke aanduiding voor tekst 6">
            <a:extLst>
              <a:ext uri="{FF2B5EF4-FFF2-40B4-BE49-F238E27FC236}">
                <a16:creationId xmlns:a16="http://schemas.microsoft.com/office/drawing/2014/main" id="{E39F519A-E318-4B7C-AA10-89A1C075825C}"/>
              </a:ext>
            </a:extLst>
          </p:cNvPr>
          <p:cNvSpPr>
            <a:spLocks noGrp="1"/>
          </p:cNvSpPr>
          <p:nvPr>
            <p:ph type="body" sz="quarter" idx="15" hasCustomPrompt="1"/>
          </p:nvPr>
        </p:nvSpPr>
        <p:spPr>
          <a:xfrm>
            <a:off x="7205400" y="2635267"/>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3</a:t>
            </a:r>
          </a:p>
        </p:txBody>
      </p:sp>
      <p:sp>
        <p:nvSpPr>
          <p:cNvPr id="44" name="Tijdelijke aanduiding voor tekst 6">
            <a:extLst>
              <a:ext uri="{FF2B5EF4-FFF2-40B4-BE49-F238E27FC236}">
                <a16:creationId xmlns:a16="http://schemas.microsoft.com/office/drawing/2014/main" id="{C58ECB0F-D94D-4807-A4FA-4F16FD02FF70}"/>
              </a:ext>
            </a:extLst>
          </p:cNvPr>
          <p:cNvSpPr>
            <a:spLocks noGrp="1"/>
          </p:cNvSpPr>
          <p:nvPr>
            <p:ph type="body" sz="quarter" idx="16" hasCustomPrompt="1"/>
          </p:nvPr>
        </p:nvSpPr>
        <p:spPr>
          <a:xfrm>
            <a:off x="6096000" y="2639543"/>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5" name="Tijdelijke aanduiding voor tekst 6">
            <a:extLst>
              <a:ext uri="{FF2B5EF4-FFF2-40B4-BE49-F238E27FC236}">
                <a16:creationId xmlns:a16="http://schemas.microsoft.com/office/drawing/2014/main" id="{5EB21555-45D5-4F9F-B3B6-DE4D053CD946}"/>
              </a:ext>
            </a:extLst>
          </p:cNvPr>
          <p:cNvSpPr>
            <a:spLocks noGrp="1"/>
          </p:cNvSpPr>
          <p:nvPr>
            <p:ph type="body" sz="quarter" idx="17" hasCustomPrompt="1"/>
          </p:nvPr>
        </p:nvSpPr>
        <p:spPr>
          <a:xfrm>
            <a:off x="7205400" y="3622571"/>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4</a:t>
            </a:r>
          </a:p>
        </p:txBody>
      </p:sp>
      <p:sp>
        <p:nvSpPr>
          <p:cNvPr id="47" name="Tijdelijke aanduiding voor tekst 6">
            <a:extLst>
              <a:ext uri="{FF2B5EF4-FFF2-40B4-BE49-F238E27FC236}">
                <a16:creationId xmlns:a16="http://schemas.microsoft.com/office/drawing/2014/main" id="{1A14E9FB-857B-4A6C-82D5-B4F4043C50E4}"/>
              </a:ext>
            </a:extLst>
          </p:cNvPr>
          <p:cNvSpPr>
            <a:spLocks noGrp="1"/>
          </p:cNvSpPr>
          <p:nvPr>
            <p:ph type="body" sz="quarter" idx="18" hasCustomPrompt="1"/>
          </p:nvPr>
        </p:nvSpPr>
        <p:spPr>
          <a:xfrm>
            <a:off x="6096000" y="3626847"/>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48" name="Tijdelijke aanduiding voor tekst 6">
            <a:extLst>
              <a:ext uri="{FF2B5EF4-FFF2-40B4-BE49-F238E27FC236}">
                <a16:creationId xmlns:a16="http://schemas.microsoft.com/office/drawing/2014/main" id="{D299575F-C84E-45E2-B0E1-9A31D37169A1}"/>
              </a:ext>
            </a:extLst>
          </p:cNvPr>
          <p:cNvSpPr>
            <a:spLocks noGrp="1"/>
          </p:cNvSpPr>
          <p:nvPr>
            <p:ph type="body" sz="quarter" idx="19" hasCustomPrompt="1"/>
          </p:nvPr>
        </p:nvSpPr>
        <p:spPr>
          <a:xfrm>
            <a:off x="7205400" y="4609874"/>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5</a:t>
            </a:r>
          </a:p>
        </p:txBody>
      </p:sp>
      <p:sp>
        <p:nvSpPr>
          <p:cNvPr id="50" name="Tijdelijke aanduiding voor tekst 6">
            <a:extLst>
              <a:ext uri="{FF2B5EF4-FFF2-40B4-BE49-F238E27FC236}">
                <a16:creationId xmlns:a16="http://schemas.microsoft.com/office/drawing/2014/main" id="{4BD24427-9FCE-4492-9657-31165F1F6A18}"/>
              </a:ext>
            </a:extLst>
          </p:cNvPr>
          <p:cNvSpPr>
            <a:spLocks noGrp="1"/>
          </p:cNvSpPr>
          <p:nvPr>
            <p:ph type="body" sz="quarter" idx="20" hasCustomPrompt="1"/>
          </p:nvPr>
        </p:nvSpPr>
        <p:spPr>
          <a:xfrm>
            <a:off x="6096000" y="4614150"/>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51" name="Tijdelijke aanduiding voor tekst 6">
            <a:extLst>
              <a:ext uri="{FF2B5EF4-FFF2-40B4-BE49-F238E27FC236}">
                <a16:creationId xmlns:a16="http://schemas.microsoft.com/office/drawing/2014/main" id="{672D32A3-A2E3-46E2-9F9B-FA9AD3E3A8D2}"/>
              </a:ext>
            </a:extLst>
          </p:cNvPr>
          <p:cNvSpPr>
            <a:spLocks noGrp="1"/>
          </p:cNvSpPr>
          <p:nvPr>
            <p:ph type="body" sz="quarter" idx="21" hasCustomPrompt="1"/>
          </p:nvPr>
        </p:nvSpPr>
        <p:spPr>
          <a:xfrm>
            <a:off x="7205400" y="5597176"/>
            <a:ext cx="3937000" cy="495299"/>
          </a:xfrm>
          <a:prstGeom prst="rect">
            <a:avLst/>
          </a:prstGeom>
        </p:spPr>
        <p:txBody>
          <a:bodyPr lIns="0" rIns="0" anchor="b">
            <a:noAutofit/>
          </a:bodyPr>
          <a:lstStyle>
            <a:lvl1pPr marL="0" indent="0">
              <a:lnSpc>
                <a:spcPct val="150000"/>
              </a:lnSpc>
              <a:buClr>
                <a:schemeClr val="accent1"/>
              </a:buClr>
              <a:buSzPct val="150000"/>
              <a:buFont typeface="+mj-lt"/>
              <a:buNone/>
              <a:defRPr sz="2400" b="0" cap="none" baseline="0">
                <a:solidFill>
                  <a:schemeClr val="bg1"/>
                </a:solidFill>
              </a:defRPr>
            </a:lvl1pPr>
          </a:lstStyle>
          <a:p>
            <a:pPr lvl="0"/>
            <a:r>
              <a:rPr lang="nl-NL" dirty="0"/>
              <a:t>Titel 06</a:t>
            </a:r>
          </a:p>
        </p:txBody>
      </p:sp>
      <p:sp>
        <p:nvSpPr>
          <p:cNvPr id="53" name="Tijdelijke aanduiding voor tekst 6">
            <a:extLst>
              <a:ext uri="{FF2B5EF4-FFF2-40B4-BE49-F238E27FC236}">
                <a16:creationId xmlns:a16="http://schemas.microsoft.com/office/drawing/2014/main" id="{A3423D5C-41B9-4A4A-8A8D-EF1D5CD431BB}"/>
              </a:ext>
            </a:extLst>
          </p:cNvPr>
          <p:cNvSpPr>
            <a:spLocks noGrp="1"/>
          </p:cNvSpPr>
          <p:nvPr>
            <p:ph type="body" sz="quarter" idx="22" hasCustomPrompt="1"/>
          </p:nvPr>
        </p:nvSpPr>
        <p:spPr>
          <a:xfrm>
            <a:off x="6096000" y="5601452"/>
            <a:ext cx="812799" cy="495299"/>
          </a:xfrm>
          <a:prstGeom prst="rect">
            <a:avLst/>
          </a:prstGeom>
        </p:spPr>
        <p:txBody>
          <a:bodyPr lIns="0" rIns="0" anchor="b"/>
          <a:lstStyle>
            <a:lvl1pPr marL="0" indent="0" algn="r">
              <a:lnSpc>
                <a:spcPct val="150000"/>
              </a:lnSpc>
              <a:buClr>
                <a:schemeClr val="accent1"/>
              </a:buClr>
              <a:buSzPct val="150000"/>
              <a:buFont typeface="+mj-lt"/>
              <a:buNone/>
              <a:defRPr sz="2400" b="1" cap="all" baseline="0">
                <a:solidFill>
                  <a:schemeClr val="bg1"/>
                </a:solidFill>
              </a:defRPr>
            </a:lvl1pPr>
          </a:lstStyle>
          <a:p>
            <a:pPr lvl="0"/>
            <a:r>
              <a:rPr lang="nl-NL" dirty="0"/>
              <a:t>xx</a:t>
            </a:r>
          </a:p>
        </p:txBody>
      </p:sp>
      <p:sp>
        <p:nvSpPr>
          <p:cNvPr id="27" name="Titel 1">
            <a:extLst>
              <a:ext uri="{FF2B5EF4-FFF2-40B4-BE49-F238E27FC236}">
                <a16:creationId xmlns:a16="http://schemas.microsoft.com/office/drawing/2014/main" id="{C4DDB331-9356-48D2-83A6-956567F52944}"/>
              </a:ext>
            </a:extLst>
          </p:cNvPr>
          <p:cNvSpPr>
            <a:spLocks noGrp="1"/>
          </p:cNvSpPr>
          <p:nvPr>
            <p:ph type="ctrTitle"/>
          </p:nvPr>
        </p:nvSpPr>
        <p:spPr>
          <a:xfrm>
            <a:off x="841613" y="688964"/>
            <a:ext cx="4717263" cy="1903106"/>
          </a:xfrm>
        </p:spPr>
        <p:txBody>
          <a:bodyPr anchor="t">
            <a:noAutofit/>
          </a:bodyPr>
          <a:lstStyle>
            <a:lvl1pPr algn="l">
              <a:defRPr sz="5400" b="0">
                <a:solidFill>
                  <a:schemeClr val="bg1"/>
                </a:solidFill>
                <a:latin typeface="+mn-lt"/>
              </a:defRPr>
            </a:lvl1pPr>
          </a:lstStyle>
          <a:p>
            <a:r>
              <a:rPr lang="en-US"/>
              <a:t>Click to edit Master title style</a:t>
            </a:r>
            <a:endParaRPr lang="en-GB" dirty="0"/>
          </a:p>
        </p:txBody>
      </p:sp>
      <p:sp>
        <p:nvSpPr>
          <p:cNvPr id="18" name="Rechthoek 17">
            <a:extLst>
              <a:ext uri="{FF2B5EF4-FFF2-40B4-BE49-F238E27FC236}">
                <a16:creationId xmlns:a16="http://schemas.microsoft.com/office/drawing/2014/main" id="{42FEBCD2-1C7B-4302-9EC8-66F95A9E7A6C}"/>
              </a:ext>
            </a:extLst>
          </p:cNvPr>
          <p:cNvSpPr/>
          <p:nvPr/>
        </p:nvSpPr>
        <p:spPr>
          <a:xfrm rot="7786244" flipH="1" flipV="1">
            <a:off x="4061773" y="-1703090"/>
            <a:ext cx="1976529" cy="48935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Vrije vorm: vorm 18">
            <a:extLst>
              <a:ext uri="{FF2B5EF4-FFF2-40B4-BE49-F238E27FC236}">
                <a16:creationId xmlns:a16="http://schemas.microsoft.com/office/drawing/2014/main" id="{1C47139E-D7F4-471E-8A2B-4D1A15BF93B6}"/>
              </a:ext>
            </a:extLst>
          </p:cNvPr>
          <p:cNvSpPr/>
          <p:nvPr/>
        </p:nvSpPr>
        <p:spPr>
          <a:xfrm rot="9139577" flipH="1" flipV="1">
            <a:off x="-2914650" y="2091861"/>
            <a:ext cx="8274243" cy="8274241"/>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Tree>
    <p:extLst>
      <p:ext uri="{BB962C8B-B14F-4D97-AF65-F5344CB8AC3E}">
        <p14:creationId xmlns:p14="http://schemas.microsoft.com/office/powerpoint/2010/main" val="1833226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p:cTn id="7" dur="500" fill="hold"/>
                                        <p:tgtEl>
                                          <p:spTgt spid="3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6">
                                            <p:txEl>
                                              <p:pRg st="0" end="0"/>
                                            </p:txEl>
                                          </p:spTgt>
                                        </p:tgtEl>
                                      </p:cBhvr>
                                    </p:animEffect>
                                  </p:childTnLst>
                                </p:cTn>
                              </p:par>
                              <p:par>
                                <p:cTn id="10" presetID="10" presetClass="entr" presetSubtype="0" fill="hold" grpId="0" nodeType="withEffect">
                                  <p:stCondLst>
                                    <p:cond delay="25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fade">
                                      <p:cBhvr>
                                        <p:cTn id="12" dur="500"/>
                                        <p:tgtEl>
                                          <p:spTgt spid="34">
                                            <p:txEl>
                                              <p:pRg st="0" end="0"/>
                                            </p:txEl>
                                          </p:spTgt>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1">
                                            <p:txEl>
                                              <p:pRg st="0" end="0"/>
                                            </p:txEl>
                                          </p:spTgt>
                                        </p:tgtEl>
                                        <p:attrNameLst>
                                          <p:attrName>style.visibility</p:attrName>
                                        </p:attrNameLst>
                                      </p:cBhvr>
                                      <p:to>
                                        <p:strVal val="visible"/>
                                      </p:to>
                                    </p:set>
                                    <p:anim calcmode="lin" valueType="num">
                                      <p:cBhvr>
                                        <p:cTn id="15" dur="500" fill="hold"/>
                                        <p:tgtEl>
                                          <p:spTgt spid="41">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1">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1">
                                            <p:txEl>
                                              <p:pRg st="0" end="0"/>
                                            </p:txEl>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37">
                                            <p:txEl>
                                              <p:pRg st="0" end="0"/>
                                            </p:txEl>
                                          </p:spTgt>
                                        </p:tgtEl>
                                        <p:attrNameLst>
                                          <p:attrName>style.visibility</p:attrName>
                                        </p:attrNameLst>
                                      </p:cBhvr>
                                      <p:to>
                                        <p:strVal val="visible"/>
                                      </p:to>
                                    </p:set>
                                    <p:animEffect transition="in" filter="fade">
                                      <p:cBhvr>
                                        <p:cTn id="20" dur="500"/>
                                        <p:tgtEl>
                                          <p:spTgt spid="37">
                                            <p:txEl>
                                              <p:pRg st="0" end="0"/>
                                            </p:txEl>
                                          </p:spTgt>
                                        </p:tgtEl>
                                      </p:cBhvr>
                                    </p:animEffect>
                                  </p:childTnLst>
                                </p:cTn>
                              </p:par>
                              <p:par>
                                <p:cTn id="21" presetID="53" presetClass="entr" presetSubtype="16" fill="hold" grpId="0" nodeType="withEffect">
                                  <p:stCondLst>
                                    <p:cond delay="500"/>
                                  </p:stCondLst>
                                  <p:childTnLst>
                                    <p:set>
                                      <p:cBhvr>
                                        <p:cTn id="22" dur="1" fill="hold">
                                          <p:stCondLst>
                                            <p:cond delay="0"/>
                                          </p:stCondLst>
                                        </p:cTn>
                                        <p:tgtEl>
                                          <p:spTgt spid="44">
                                            <p:txEl>
                                              <p:pRg st="0" end="0"/>
                                            </p:txEl>
                                          </p:spTgt>
                                        </p:tgtEl>
                                        <p:attrNameLst>
                                          <p:attrName>style.visibility</p:attrName>
                                        </p:attrNameLst>
                                      </p:cBhvr>
                                      <p:to>
                                        <p:strVal val="visible"/>
                                      </p:to>
                                    </p:set>
                                    <p:anim calcmode="lin" valueType="num">
                                      <p:cBhvr>
                                        <p:cTn id="23" dur="500" fill="hold"/>
                                        <p:tgtEl>
                                          <p:spTgt spid="44">
                                            <p:txEl>
                                              <p:pRg st="0" end="0"/>
                                            </p:txEl>
                                          </p:spTgt>
                                        </p:tgtEl>
                                        <p:attrNameLst>
                                          <p:attrName>ppt_w</p:attrName>
                                        </p:attrNameLst>
                                      </p:cBhvr>
                                      <p:tavLst>
                                        <p:tav tm="0">
                                          <p:val>
                                            <p:fltVal val="0"/>
                                          </p:val>
                                        </p:tav>
                                        <p:tav tm="100000">
                                          <p:val>
                                            <p:strVal val="#ppt_w"/>
                                          </p:val>
                                        </p:tav>
                                      </p:tavLst>
                                    </p:anim>
                                    <p:anim calcmode="lin" valueType="num">
                                      <p:cBhvr>
                                        <p:cTn id="24" dur="500" fill="hold"/>
                                        <p:tgtEl>
                                          <p:spTgt spid="44">
                                            <p:txEl>
                                              <p:pRg st="0" end="0"/>
                                            </p:txEl>
                                          </p:spTgt>
                                        </p:tgtEl>
                                        <p:attrNameLst>
                                          <p:attrName>ppt_h</p:attrName>
                                        </p:attrNameLst>
                                      </p:cBhvr>
                                      <p:tavLst>
                                        <p:tav tm="0">
                                          <p:val>
                                            <p:fltVal val="0"/>
                                          </p:val>
                                        </p:tav>
                                        <p:tav tm="100000">
                                          <p:val>
                                            <p:strVal val="#ppt_h"/>
                                          </p:val>
                                        </p:tav>
                                      </p:tavLst>
                                    </p:anim>
                                    <p:animEffect transition="in" filter="fade">
                                      <p:cBhvr>
                                        <p:cTn id="25" dur="500"/>
                                        <p:tgtEl>
                                          <p:spTgt spid="44">
                                            <p:txEl>
                                              <p:pRg st="0" end="0"/>
                                            </p:txEl>
                                          </p:spTgt>
                                        </p:tgtEl>
                                      </p:cBhvr>
                                    </p:animEffect>
                                  </p:childTnLst>
                                </p:cTn>
                              </p:par>
                              <p:par>
                                <p:cTn id="26" presetID="10" presetClass="entr" presetSubtype="0" fill="hold" grpId="0" nodeType="withEffect">
                                  <p:stCondLst>
                                    <p:cond delay="750"/>
                                  </p:stCondLst>
                                  <p:childTnLst>
                                    <p:set>
                                      <p:cBhvr>
                                        <p:cTn id="27" dur="1" fill="hold">
                                          <p:stCondLst>
                                            <p:cond delay="0"/>
                                          </p:stCondLst>
                                        </p:cTn>
                                        <p:tgtEl>
                                          <p:spTgt spid="42">
                                            <p:txEl>
                                              <p:pRg st="0" end="0"/>
                                            </p:txEl>
                                          </p:spTgt>
                                        </p:tgtEl>
                                        <p:attrNameLst>
                                          <p:attrName>style.visibility</p:attrName>
                                        </p:attrNameLst>
                                      </p:cBhvr>
                                      <p:to>
                                        <p:strVal val="visible"/>
                                      </p:to>
                                    </p:set>
                                    <p:animEffect transition="in" filter="fade">
                                      <p:cBhvr>
                                        <p:cTn id="28" dur="500"/>
                                        <p:tgtEl>
                                          <p:spTgt spid="42">
                                            <p:txEl>
                                              <p:pRg st="0" end="0"/>
                                            </p:txEl>
                                          </p:spTgt>
                                        </p:tgtEl>
                                      </p:cBhvr>
                                    </p:animEffect>
                                  </p:childTnLst>
                                </p:cTn>
                              </p:par>
                              <p:par>
                                <p:cTn id="29" presetID="53" presetClass="entr" presetSubtype="16" fill="hold" grpId="0" nodeType="withEffect">
                                  <p:stCondLst>
                                    <p:cond delay="750"/>
                                  </p:stCondLst>
                                  <p:childTnLst>
                                    <p:set>
                                      <p:cBhvr>
                                        <p:cTn id="30" dur="1" fill="hold">
                                          <p:stCondLst>
                                            <p:cond delay="0"/>
                                          </p:stCondLst>
                                        </p:cTn>
                                        <p:tgtEl>
                                          <p:spTgt spid="47">
                                            <p:txEl>
                                              <p:pRg st="0" end="0"/>
                                            </p:txEl>
                                          </p:spTgt>
                                        </p:tgtEl>
                                        <p:attrNameLst>
                                          <p:attrName>style.visibility</p:attrName>
                                        </p:attrNameLst>
                                      </p:cBhvr>
                                      <p:to>
                                        <p:strVal val="visible"/>
                                      </p:to>
                                    </p:set>
                                    <p:anim calcmode="lin" valueType="num">
                                      <p:cBhvr>
                                        <p:cTn id="31" dur="500" fill="hold"/>
                                        <p:tgtEl>
                                          <p:spTgt spid="47">
                                            <p:txEl>
                                              <p:pRg st="0" end="0"/>
                                            </p:txEl>
                                          </p:spTgt>
                                        </p:tgtEl>
                                        <p:attrNameLst>
                                          <p:attrName>ppt_w</p:attrName>
                                        </p:attrNameLst>
                                      </p:cBhvr>
                                      <p:tavLst>
                                        <p:tav tm="0">
                                          <p:val>
                                            <p:fltVal val="0"/>
                                          </p:val>
                                        </p:tav>
                                        <p:tav tm="100000">
                                          <p:val>
                                            <p:strVal val="#ppt_w"/>
                                          </p:val>
                                        </p:tav>
                                      </p:tavLst>
                                    </p:anim>
                                    <p:anim calcmode="lin" valueType="num">
                                      <p:cBhvr>
                                        <p:cTn id="32" dur="500" fill="hold"/>
                                        <p:tgtEl>
                                          <p:spTgt spid="47">
                                            <p:txEl>
                                              <p:pRg st="0" end="0"/>
                                            </p:txEl>
                                          </p:spTgt>
                                        </p:tgtEl>
                                        <p:attrNameLst>
                                          <p:attrName>ppt_h</p:attrName>
                                        </p:attrNameLst>
                                      </p:cBhvr>
                                      <p:tavLst>
                                        <p:tav tm="0">
                                          <p:val>
                                            <p:fltVal val="0"/>
                                          </p:val>
                                        </p:tav>
                                        <p:tav tm="100000">
                                          <p:val>
                                            <p:strVal val="#ppt_h"/>
                                          </p:val>
                                        </p:tav>
                                      </p:tavLst>
                                    </p:anim>
                                    <p:animEffect transition="in" filter="fade">
                                      <p:cBhvr>
                                        <p:cTn id="33" dur="500"/>
                                        <p:tgtEl>
                                          <p:spTgt spid="47">
                                            <p:txEl>
                                              <p:pRg st="0" end="0"/>
                                            </p:txEl>
                                          </p:spTgt>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45">
                                            <p:txEl>
                                              <p:pRg st="0" end="0"/>
                                            </p:txEl>
                                          </p:spTgt>
                                        </p:tgtEl>
                                        <p:attrNameLst>
                                          <p:attrName>style.visibility</p:attrName>
                                        </p:attrNameLst>
                                      </p:cBhvr>
                                      <p:to>
                                        <p:strVal val="visible"/>
                                      </p:to>
                                    </p:set>
                                    <p:animEffect transition="in" filter="fade">
                                      <p:cBhvr>
                                        <p:cTn id="36" dur="500"/>
                                        <p:tgtEl>
                                          <p:spTgt spid="45">
                                            <p:txEl>
                                              <p:pRg st="0" end="0"/>
                                            </p:txEl>
                                          </p:spTgt>
                                        </p:tgtEl>
                                      </p:cBhvr>
                                    </p:animEffect>
                                  </p:childTnLst>
                                </p:cTn>
                              </p:par>
                              <p:par>
                                <p:cTn id="37" presetID="53" presetClass="entr" presetSubtype="16" fill="hold" grpId="0" nodeType="withEffect">
                                  <p:stCondLst>
                                    <p:cond delay="100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p:cTn id="39" dur="500" fill="hold"/>
                                        <p:tgtEl>
                                          <p:spTgt spid="50">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50">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50">
                                            <p:txEl>
                                              <p:pRg st="0" end="0"/>
                                            </p:txEl>
                                          </p:spTgt>
                                        </p:tgtEl>
                                      </p:cBhvr>
                                    </p:animEffect>
                                  </p:childTnLst>
                                </p:cTn>
                              </p:par>
                              <p:par>
                                <p:cTn id="42" presetID="10" presetClass="entr" presetSubtype="0" fill="hold" grpId="0" nodeType="withEffect">
                                  <p:stCondLst>
                                    <p:cond delay="1250"/>
                                  </p:stCondLst>
                                  <p:childTnLst>
                                    <p:set>
                                      <p:cBhvr>
                                        <p:cTn id="43" dur="1" fill="hold">
                                          <p:stCondLst>
                                            <p:cond delay="0"/>
                                          </p:stCondLst>
                                        </p:cTn>
                                        <p:tgtEl>
                                          <p:spTgt spid="48">
                                            <p:txEl>
                                              <p:pRg st="0" end="0"/>
                                            </p:txEl>
                                          </p:spTgt>
                                        </p:tgtEl>
                                        <p:attrNameLst>
                                          <p:attrName>style.visibility</p:attrName>
                                        </p:attrNameLst>
                                      </p:cBhvr>
                                      <p:to>
                                        <p:strVal val="visible"/>
                                      </p:to>
                                    </p:set>
                                    <p:animEffect transition="in" filter="fade">
                                      <p:cBhvr>
                                        <p:cTn id="44" dur="500"/>
                                        <p:tgtEl>
                                          <p:spTgt spid="48">
                                            <p:txEl>
                                              <p:pRg st="0" end="0"/>
                                            </p:txEl>
                                          </p:spTgt>
                                        </p:tgtEl>
                                      </p:cBhvr>
                                    </p:animEffect>
                                  </p:childTnLst>
                                </p:cTn>
                              </p:par>
                              <p:par>
                                <p:cTn id="45" presetID="53" presetClass="entr" presetSubtype="16" fill="hold" grpId="0" nodeType="withEffect">
                                  <p:stCondLst>
                                    <p:cond delay="1250"/>
                                  </p:stCondLst>
                                  <p:childTnLst>
                                    <p:set>
                                      <p:cBhvr>
                                        <p:cTn id="46" dur="1" fill="hold">
                                          <p:stCondLst>
                                            <p:cond delay="0"/>
                                          </p:stCondLst>
                                        </p:cTn>
                                        <p:tgtEl>
                                          <p:spTgt spid="53">
                                            <p:txEl>
                                              <p:pRg st="0" end="0"/>
                                            </p:txEl>
                                          </p:spTgt>
                                        </p:tgtEl>
                                        <p:attrNameLst>
                                          <p:attrName>style.visibility</p:attrName>
                                        </p:attrNameLst>
                                      </p:cBhvr>
                                      <p:to>
                                        <p:strVal val="visible"/>
                                      </p:to>
                                    </p:set>
                                    <p:anim calcmode="lin" valueType="num">
                                      <p:cBhvr>
                                        <p:cTn id="47" dur="500" fill="hold"/>
                                        <p:tgtEl>
                                          <p:spTgt spid="53">
                                            <p:txEl>
                                              <p:pRg st="0" end="0"/>
                                            </p:txEl>
                                          </p:spTgt>
                                        </p:tgtEl>
                                        <p:attrNameLst>
                                          <p:attrName>ppt_w</p:attrName>
                                        </p:attrNameLst>
                                      </p:cBhvr>
                                      <p:tavLst>
                                        <p:tav tm="0">
                                          <p:val>
                                            <p:fltVal val="0"/>
                                          </p:val>
                                        </p:tav>
                                        <p:tav tm="100000">
                                          <p:val>
                                            <p:strVal val="#ppt_w"/>
                                          </p:val>
                                        </p:tav>
                                      </p:tavLst>
                                    </p:anim>
                                    <p:anim calcmode="lin" valueType="num">
                                      <p:cBhvr>
                                        <p:cTn id="48" dur="500" fill="hold"/>
                                        <p:tgtEl>
                                          <p:spTgt spid="53">
                                            <p:txEl>
                                              <p:pRg st="0" end="0"/>
                                            </p:txEl>
                                          </p:spTgt>
                                        </p:tgtEl>
                                        <p:attrNameLst>
                                          <p:attrName>ppt_h</p:attrName>
                                        </p:attrNameLst>
                                      </p:cBhvr>
                                      <p:tavLst>
                                        <p:tav tm="0">
                                          <p:val>
                                            <p:fltVal val="0"/>
                                          </p:val>
                                        </p:tav>
                                        <p:tav tm="100000">
                                          <p:val>
                                            <p:strVal val="#ppt_h"/>
                                          </p:val>
                                        </p:tav>
                                      </p:tavLst>
                                    </p:anim>
                                    <p:animEffect transition="in" filter="fade">
                                      <p:cBhvr>
                                        <p:cTn id="49" dur="500"/>
                                        <p:tgtEl>
                                          <p:spTgt spid="53">
                                            <p:txEl>
                                              <p:pRg st="0" end="0"/>
                                            </p:txEl>
                                          </p:spTgt>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51">
                                            <p:txEl>
                                              <p:pRg st="0" end="0"/>
                                            </p:txEl>
                                          </p:spTgt>
                                        </p:tgtEl>
                                        <p:attrNameLst>
                                          <p:attrName>style.visibility</p:attrName>
                                        </p:attrNameLst>
                                      </p:cBhvr>
                                      <p:to>
                                        <p:strVal val="visible"/>
                                      </p:to>
                                    </p:set>
                                    <p:animEffect transition="in" filter="fade">
                                      <p:cBhvr>
                                        <p:cTn id="52"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tmplLst>
          <p:tmpl lvl="1">
            <p:tnLst>
              <p:par>
                <p:cTn presetID="10" presetClass="entr" presetSubtype="0" fill="hold" nodeType="withEffect">
                  <p:stCondLst>
                    <p:cond delay="25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6" grpId="0" build="p">
        <p:tmplLst>
          <p:tmpl lvl="1">
            <p:tnLst>
              <p:par>
                <p:cTn presetID="53" presetClass="entr" presetSubtype="16"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fltVal val="0"/>
                          </p:val>
                        </p:tav>
                        <p:tav tm="100000">
                          <p:val>
                            <p:strVal val="#ppt_w"/>
                          </p:val>
                        </p:tav>
                      </p:tavLst>
                    </p:anim>
                    <p:anim calcmode="lin" valueType="num">
                      <p:cBhvr>
                        <p:cTn dur="500" fill="hold"/>
                        <p:tgtEl>
                          <p:spTgt spid="36"/>
                        </p:tgtEl>
                        <p:attrNameLst>
                          <p:attrName>ppt_h</p:attrName>
                        </p:attrNameLst>
                      </p:cBhvr>
                      <p:tavLst>
                        <p:tav tm="0">
                          <p:val>
                            <p:fltVal val="0"/>
                          </p:val>
                        </p:tav>
                        <p:tav tm="100000">
                          <p:val>
                            <p:strVal val="#ppt_h"/>
                          </p:val>
                        </p:tav>
                      </p:tavLst>
                    </p:anim>
                    <p:animEffect transition="in" filter="fade">
                      <p:cBhvr>
                        <p:cTn dur="500"/>
                        <p:tgtEl>
                          <p:spTgt spid="36"/>
                        </p:tgtEl>
                      </p:cBhvr>
                    </p:animEffect>
                  </p:childTnLst>
                </p:cTn>
              </p:par>
            </p:tnLst>
          </p:tmpl>
        </p:tmplLst>
      </p:bldP>
      <p:bldP spid="37" grpId="0" build="p">
        <p:tmplLst>
          <p:tmpl lvl="1">
            <p:tnLst>
              <p:par>
                <p:cTn presetID="10" presetClass="entr" presetSubtype="0" fill="hold" nodeType="withEffect">
                  <p:stCondLst>
                    <p:cond delay="50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41" grpId="0" build="p">
        <p:tmplLst>
          <p:tmpl lvl="1">
            <p:tnLst>
              <p:par>
                <p:cTn presetID="53" presetClass="entr" presetSubtype="16" fill="hold" nodeType="withEffect">
                  <p:stCondLst>
                    <p:cond delay="250"/>
                  </p:stCondLst>
                  <p:childTnLst>
                    <p:set>
                      <p:cBhvr>
                        <p:cTn dur="1" fill="hold">
                          <p:stCondLst>
                            <p:cond delay="0"/>
                          </p:stCondLst>
                        </p:cTn>
                        <p:tgtEl>
                          <p:spTgt spid="41"/>
                        </p:tgtEl>
                        <p:attrNameLst>
                          <p:attrName>style.visibility</p:attrName>
                        </p:attrNameLst>
                      </p:cBhvr>
                      <p:to>
                        <p:strVal val="visible"/>
                      </p:to>
                    </p:set>
                    <p:anim calcmode="lin" valueType="num">
                      <p:cBhvr>
                        <p:cTn dur="500" fill="hold"/>
                        <p:tgtEl>
                          <p:spTgt spid="41"/>
                        </p:tgtEl>
                        <p:attrNameLst>
                          <p:attrName>ppt_w</p:attrName>
                        </p:attrNameLst>
                      </p:cBhvr>
                      <p:tavLst>
                        <p:tav tm="0">
                          <p:val>
                            <p:fltVal val="0"/>
                          </p:val>
                        </p:tav>
                        <p:tav tm="100000">
                          <p:val>
                            <p:strVal val="#ppt_w"/>
                          </p:val>
                        </p:tav>
                      </p:tavLst>
                    </p:anim>
                    <p:anim calcmode="lin" valueType="num">
                      <p:cBhvr>
                        <p:cTn dur="500" fill="hold"/>
                        <p:tgtEl>
                          <p:spTgt spid="41"/>
                        </p:tgtEl>
                        <p:attrNameLst>
                          <p:attrName>ppt_h</p:attrName>
                        </p:attrNameLst>
                      </p:cBhvr>
                      <p:tavLst>
                        <p:tav tm="0">
                          <p:val>
                            <p:fltVal val="0"/>
                          </p:val>
                        </p:tav>
                        <p:tav tm="100000">
                          <p:val>
                            <p:strVal val="#ppt_h"/>
                          </p:val>
                        </p:tav>
                      </p:tavLst>
                    </p:anim>
                    <p:animEffect transition="in" filter="fade">
                      <p:cBhvr>
                        <p:cTn dur="500"/>
                        <p:tgtEl>
                          <p:spTgt spid="41"/>
                        </p:tgtEl>
                      </p:cBhvr>
                    </p:animEffect>
                  </p:childTnLst>
                </p:cTn>
              </p:par>
            </p:tnLst>
          </p:tmpl>
        </p:tmplLst>
      </p:bldP>
      <p:bldP spid="42" grpId="0" build="p">
        <p:tmplLst>
          <p:tmpl lvl="1">
            <p:tnLst>
              <p:par>
                <p:cTn presetID="10" presetClass="entr" presetSubtype="0" fill="hold" nodeType="withEffect">
                  <p:stCondLst>
                    <p:cond delay="75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4" grpId="0" build="p">
        <p:tmplLst>
          <p:tmpl lvl="1">
            <p:tnLst>
              <p:par>
                <p:cTn presetID="53" presetClass="entr" presetSubtype="16" fill="hold" nodeType="withEffect">
                  <p:stCondLst>
                    <p:cond delay="5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fltVal val="0"/>
                          </p:val>
                        </p:tav>
                        <p:tav tm="100000">
                          <p:val>
                            <p:strVal val="#ppt_w"/>
                          </p:val>
                        </p:tav>
                      </p:tavLst>
                    </p:anim>
                    <p:anim calcmode="lin" valueType="num">
                      <p:cBhvr>
                        <p:cTn dur="500" fill="hold"/>
                        <p:tgtEl>
                          <p:spTgt spid="44"/>
                        </p:tgtEl>
                        <p:attrNameLst>
                          <p:attrName>ppt_h</p:attrName>
                        </p:attrNameLst>
                      </p:cBhvr>
                      <p:tavLst>
                        <p:tav tm="0">
                          <p:val>
                            <p:fltVal val="0"/>
                          </p:val>
                        </p:tav>
                        <p:tav tm="100000">
                          <p:val>
                            <p:strVal val="#ppt_h"/>
                          </p:val>
                        </p:tav>
                      </p:tavLst>
                    </p:anim>
                    <p:animEffect transition="in" filter="fade">
                      <p:cBhvr>
                        <p:cTn dur="500"/>
                        <p:tgtEl>
                          <p:spTgt spid="44"/>
                        </p:tgtEl>
                      </p:cBhvr>
                    </p:animEffect>
                  </p:childTnLst>
                </p:cTn>
              </p:par>
            </p:tnLst>
          </p:tmpl>
        </p:tmplLst>
      </p:bldP>
      <p:bldP spid="45" grpId="0" build="p">
        <p:tmplLst>
          <p:tmpl lvl="1">
            <p:tnLst>
              <p:par>
                <p:cTn presetID="10" presetClass="entr" presetSubtype="0" fill="hold" nodeType="withEffect">
                  <p:stCondLst>
                    <p:cond delay="100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7" grpId="0" build="p">
        <p:tmplLst>
          <p:tmpl lvl="1">
            <p:tnLst>
              <p:par>
                <p:cTn presetID="53" presetClass="entr" presetSubtype="16" fill="hold" nodeType="withEffect">
                  <p:stCondLst>
                    <p:cond delay="750"/>
                  </p:stCondLst>
                  <p:childTnLst>
                    <p:set>
                      <p:cBhvr>
                        <p:cTn dur="1" fill="hold">
                          <p:stCondLst>
                            <p:cond delay="0"/>
                          </p:stCondLst>
                        </p:cTn>
                        <p:tgtEl>
                          <p:spTgt spid="47"/>
                        </p:tgtEl>
                        <p:attrNameLst>
                          <p:attrName>style.visibility</p:attrName>
                        </p:attrNameLst>
                      </p:cBhvr>
                      <p:to>
                        <p:strVal val="visible"/>
                      </p:to>
                    </p:set>
                    <p:anim calcmode="lin" valueType="num">
                      <p:cBhvr>
                        <p:cTn dur="500" fill="hold"/>
                        <p:tgtEl>
                          <p:spTgt spid="47"/>
                        </p:tgtEl>
                        <p:attrNameLst>
                          <p:attrName>ppt_w</p:attrName>
                        </p:attrNameLst>
                      </p:cBhvr>
                      <p:tavLst>
                        <p:tav tm="0">
                          <p:val>
                            <p:fltVal val="0"/>
                          </p:val>
                        </p:tav>
                        <p:tav tm="100000">
                          <p:val>
                            <p:strVal val="#ppt_w"/>
                          </p:val>
                        </p:tav>
                      </p:tavLst>
                    </p:anim>
                    <p:anim calcmode="lin" valueType="num">
                      <p:cBhvr>
                        <p:cTn dur="500" fill="hold"/>
                        <p:tgtEl>
                          <p:spTgt spid="47"/>
                        </p:tgtEl>
                        <p:attrNameLst>
                          <p:attrName>ppt_h</p:attrName>
                        </p:attrNameLst>
                      </p:cBhvr>
                      <p:tavLst>
                        <p:tav tm="0">
                          <p:val>
                            <p:fltVal val="0"/>
                          </p:val>
                        </p:tav>
                        <p:tav tm="100000">
                          <p:val>
                            <p:strVal val="#ppt_h"/>
                          </p:val>
                        </p:tav>
                      </p:tavLst>
                    </p:anim>
                    <p:animEffect transition="in" filter="fade">
                      <p:cBhvr>
                        <p:cTn dur="500"/>
                        <p:tgtEl>
                          <p:spTgt spid="47"/>
                        </p:tgtEl>
                      </p:cBhvr>
                    </p:animEffect>
                  </p:childTnLst>
                </p:cTn>
              </p:par>
            </p:tnLst>
          </p:tmpl>
        </p:tmplLst>
      </p:bldP>
      <p:bldP spid="48" grpId="0" build="p">
        <p:tmplLst>
          <p:tmpl lvl="1">
            <p:tnLst>
              <p:par>
                <p:cTn presetID="10" presetClass="entr" presetSubtype="0" fill="hold" nodeType="withEffect">
                  <p:stCondLst>
                    <p:cond delay="125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P spid="50" grpId="0" build="p">
        <p:tmplLst>
          <p:tmpl lvl="1">
            <p:tnLst>
              <p:par>
                <p:cTn presetID="53" presetClass="entr" presetSubtype="16"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 calcmode="lin" valueType="num">
                      <p:cBhvr>
                        <p:cTn dur="500" fill="hold"/>
                        <p:tgtEl>
                          <p:spTgt spid="50"/>
                        </p:tgtEl>
                        <p:attrNameLst>
                          <p:attrName>ppt_w</p:attrName>
                        </p:attrNameLst>
                      </p:cBhvr>
                      <p:tavLst>
                        <p:tav tm="0">
                          <p:val>
                            <p:fltVal val="0"/>
                          </p:val>
                        </p:tav>
                        <p:tav tm="100000">
                          <p:val>
                            <p:strVal val="#ppt_w"/>
                          </p:val>
                        </p:tav>
                      </p:tavLst>
                    </p:anim>
                    <p:anim calcmode="lin" valueType="num">
                      <p:cBhvr>
                        <p:cTn dur="500" fill="hold"/>
                        <p:tgtEl>
                          <p:spTgt spid="50"/>
                        </p:tgtEl>
                        <p:attrNameLst>
                          <p:attrName>ppt_h</p:attrName>
                        </p:attrNameLst>
                      </p:cBhvr>
                      <p:tavLst>
                        <p:tav tm="0">
                          <p:val>
                            <p:fltVal val="0"/>
                          </p:val>
                        </p:tav>
                        <p:tav tm="100000">
                          <p:val>
                            <p:strVal val="#ppt_h"/>
                          </p:val>
                        </p:tav>
                      </p:tavLst>
                    </p:anim>
                    <p:animEffect transition="in" filter="fade">
                      <p:cBhvr>
                        <p:cTn dur="500"/>
                        <p:tgtEl>
                          <p:spTgt spid="50"/>
                        </p:tgtEl>
                      </p:cBhvr>
                    </p:animEffect>
                  </p:childTnLst>
                </p:cTn>
              </p:par>
            </p:tnLst>
          </p:tmpl>
        </p:tmplLst>
      </p:bldP>
      <p:bldP spid="51" grpId="0" build="p">
        <p:tmplLst>
          <p:tmpl lvl="1">
            <p:tnLst>
              <p:par>
                <p:cTn presetID="10" presetClass="entr" presetSubtype="0" fill="hold" nodeType="withEffect">
                  <p:stCondLst>
                    <p:cond delay="150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3" grpId="0" build="p">
        <p:tmplLst>
          <p:tmpl lvl="1">
            <p:tnLst>
              <p:par>
                <p:cTn presetID="53" presetClass="entr" presetSubtype="16" fill="hold" nodeType="withEffect">
                  <p:stCondLst>
                    <p:cond delay="1250"/>
                  </p:stCondLst>
                  <p:childTnLst>
                    <p:set>
                      <p:cBhvr>
                        <p:cTn dur="1" fill="hold">
                          <p:stCondLst>
                            <p:cond delay="0"/>
                          </p:stCondLst>
                        </p:cTn>
                        <p:tgtEl>
                          <p:spTgt spid="53"/>
                        </p:tgtEl>
                        <p:attrNameLst>
                          <p:attrName>style.visibility</p:attrName>
                        </p:attrNameLst>
                      </p:cBhvr>
                      <p:to>
                        <p:strVal val="visible"/>
                      </p:to>
                    </p:set>
                    <p:anim calcmode="lin" valueType="num">
                      <p:cBhvr>
                        <p:cTn dur="500" fill="hold"/>
                        <p:tgtEl>
                          <p:spTgt spid="53"/>
                        </p:tgtEl>
                        <p:attrNameLst>
                          <p:attrName>ppt_w</p:attrName>
                        </p:attrNameLst>
                      </p:cBhvr>
                      <p:tavLst>
                        <p:tav tm="0">
                          <p:val>
                            <p:fltVal val="0"/>
                          </p:val>
                        </p:tav>
                        <p:tav tm="100000">
                          <p:val>
                            <p:strVal val="#ppt_w"/>
                          </p:val>
                        </p:tav>
                      </p:tavLst>
                    </p:anim>
                    <p:anim calcmode="lin" valueType="num">
                      <p:cBhvr>
                        <p:cTn dur="500" fill="hold"/>
                        <p:tgtEl>
                          <p:spTgt spid="53"/>
                        </p:tgtEl>
                        <p:attrNameLst>
                          <p:attrName>ppt_h</p:attrName>
                        </p:attrNameLst>
                      </p:cBhvr>
                      <p:tavLst>
                        <p:tav tm="0">
                          <p:val>
                            <p:fltVal val="0"/>
                          </p:val>
                        </p:tav>
                        <p:tav tm="100000">
                          <p:val>
                            <p:strVal val="#ppt_h"/>
                          </p:val>
                        </p:tav>
                      </p:tavLst>
                    </p:anim>
                    <p:animEffect transition="in" filter="fade">
                      <p:cBhvr>
                        <p:cTn dur="500"/>
                        <p:tgtEl>
                          <p:spTgt spid="53"/>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png"/><Relationship Id="rId50" Type="http://schemas.openxmlformats.org/officeDocument/2006/relationships/image" Target="../media/image5.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3" Type="http://schemas.openxmlformats.org/officeDocument/2006/relationships/image" Target="../media/image8.sv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52" Type="http://schemas.openxmlformats.org/officeDocument/2006/relationships/image" Target="../media/image7.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3.png"/><Relationship Id="rId8" Type="http://schemas.openxmlformats.org/officeDocument/2006/relationships/slideLayout" Target="../slideLayouts/slideLayout8.xml"/><Relationship Id="rId51" Type="http://schemas.openxmlformats.org/officeDocument/2006/relationships/image" Target="../media/image6.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730E57-8442-462B-B8B5-CDF9BC41C366}"/>
              </a:ext>
            </a:extLst>
          </p:cNvPr>
          <p:cNvGraphicFramePr>
            <a:graphicFrameLocks noChangeAspect="1"/>
          </p:cNvGraphicFramePr>
          <p:nvPr>
            <p:custDataLst>
              <p:tags r:id="rId44"/>
            </p:custDataLst>
            <p:extLst>
              <p:ext uri="{D42A27DB-BD31-4B8C-83A1-F6EECF244321}">
                <p14:modId xmlns:p14="http://schemas.microsoft.com/office/powerpoint/2010/main" val="346508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32" imgH="530" progId="TCLayout.ActiveDocument.1">
                  <p:embed/>
                </p:oleObj>
              </mc:Choice>
              <mc:Fallback>
                <p:oleObj name="think-cell Slide" r:id="rId45" imgW="532" imgH="530" progId="TCLayout.ActiveDocument.1">
                  <p:embed/>
                  <p:pic>
                    <p:nvPicPr>
                      <p:cNvPr id="5" name="Object 4" hidden="1">
                        <a:extLst>
                          <a:ext uri="{FF2B5EF4-FFF2-40B4-BE49-F238E27FC236}">
                            <a16:creationId xmlns:a16="http://schemas.microsoft.com/office/drawing/2014/main" id="{91730E57-8442-462B-B8B5-CDF9BC41C366}"/>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C8A345FA-29F6-4BBD-B4A4-DD8FAB763469}"/>
              </a:ext>
            </a:extLst>
          </p:cNvPr>
          <p:cNvSpPr>
            <a:spLocks noGrp="1"/>
          </p:cNvSpPr>
          <p:nvPr>
            <p:ph type="title"/>
          </p:nvPr>
        </p:nvSpPr>
        <p:spPr>
          <a:xfrm>
            <a:off x="838200" y="482277"/>
            <a:ext cx="10515600" cy="807704"/>
          </a:xfrm>
          <a:prstGeom prst="rect">
            <a:avLst/>
          </a:prstGeom>
        </p:spPr>
        <p:txBody>
          <a:bodyPr vert="horz" lIns="91440" tIns="45720" rIns="91440" bIns="45720" rtlCol="0" anchor="b">
            <a:normAutofit/>
          </a:bodyPr>
          <a:lstStyle/>
          <a:p>
            <a:pPr lvl="0"/>
            <a:r>
              <a:rPr lang="nl-NL" dirty="0"/>
              <a:t>Klik om stijl te bewerken</a:t>
            </a:r>
            <a:endParaRPr lang="en-GB" dirty="0"/>
          </a:p>
        </p:txBody>
      </p:sp>
      <p:sp>
        <p:nvSpPr>
          <p:cNvPr id="3" name="Tijdelijke aanduiding voor tekst 2">
            <a:extLst>
              <a:ext uri="{FF2B5EF4-FFF2-40B4-BE49-F238E27FC236}">
                <a16:creationId xmlns:a16="http://schemas.microsoft.com/office/drawing/2014/main" id="{DFAB4794-4042-4301-9E27-09262F537726}"/>
              </a:ext>
            </a:extLst>
          </p:cNvPr>
          <p:cNvSpPr>
            <a:spLocks noGrp="1"/>
          </p:cNvSpPr>
          <p:nvPr>
            <p:ph type="body" idx="1"/>
          </p:nvPr>
        </p:nvSpPr>
        <p:spPr>
          <a:xfrm>
            <a:off x="838200" y="1457011"/>
            <a:ext cx="10515600" cy="4719952"/>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22" name="Vrije vorm: vorm 21">
            <a:extLst>
              <a:ext uri="{FF2B5EF4-FFF2-40B4-BE49-F238E27FC236}">
                <a16:creationId xmlns:a16="http://schemas.microsoft.com/office/drawing/2014/main" id="{E95E442C-2180-4EA1-9B7F-83B87714B6D1}"/>
              </a:ext>
            </a:extLst>
          </p:cNvPr>
          <p:cNvSpPr/>
          <p:nvPr/>
        </p:nvSpPr>
        <p:spPr>
          <a:xfrm>
            <a:off x="156422" y="-556815"/>
            <a:ext cx="951430" cy="951430"/>
          </a:xfrm>
          <a:custGeom>
            <a:avLst/>
            <a:gdLst>
              <a:gd name="connsiteX0" fmla="*/ 3319504 w 6639020"/>
              <a:gd name="connsiteY0" fmla="*/ -46 h 6639019"/>
              <a:gd name="connsiteX1" fmla="*/ 6638967 w 6639020"/>
              <a:gd name="connsiteY1" fmla="*/ 3319512 h 6639019"/>
              <a:gd name="connsiteX2" fmla="*/ 3319504 w 6639020"/>
              <a:gd name="connsiteY2" fmla="*/ 6638974 h 6639019"/>
              <a:gd name="connsiteX3" fmla="*/ -53 w 6639020"/>
              <a:gd name="connsiteY3" fmla="*/ 3319512 h 6639019"/>
              <a:gd name="connsiteX4" fmla="*/ 3319504 w 6639020"/>
              <a:gd name="connsiteY4" fmla="*/ -46 h 6639019"/>
              <a:gd name="connsiteX5" fmla="*/ 3319504 w 6639020"/>
              <a:gd name="connsiteY5" fmla="*/ 5057729 h 6639019"/>
              <a:gd name="connsiteX6" fmla="*/ 5057912 w 6639020"/>
              <a:gd name="connsiteY6" fmla="*/ 3319607 h 6639019"/>
              <a:gd name="connsiteX7" fmla="*/ 3319504 w 6639020"/>
              <a:gd name="connsiteY7" fmla="*/ 1581294 h 6639019"/>
              <a:gd name="connsiteX8" fmla="*/ 1581192 w 6639020"/>
              <a:gd name="connsiteY8" fmla="*/ 3319512 h 6639019"/>
              <a:gd name="connsiteX9" fmla="*/ 3319504 w 6639020"/>
              <a:gd name="connsiteY9" fmla="*/ 5057634 h 663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9020" h="6639019">
                <a:moveTo>
                  <a:pt x="3319504" y="-46"/>
                </a:moveTo>
                <a:cubicBezTo>
                  <a:pt x="5152876" y="-46"/>
                  <a:pt x="6638967" y="1485854"/>
                  <a:pt x="6638967" y="3319512"/>
                </a:cubicBezTo>
                <a:cubicBezTo>
                  <a:pt x="6638967" y="5153169"/>
                  <a:pt x="5153067" y="6638974"/>
                  <a:pt x="3319504" y="6638974"/>
                </a:cubicBezTo>
                <a:cubicBezTo>
                  <a:pt x="1485942" y="6638974"/>
                  <a:pt x="-53" y="5152884"/>
                  <a:pt x="-53" y="3319512"/>
                </a:cubicBezTo>
                <a:cubicBezTo>
                  <a:pt x="-53" y="1486140"/>
                  <a:pt x="1486037" y="-46"/>
                  <a:pt x="3319504" y="-46"/>
                </a:cubicBezTo>
                <a:moveTo>
                  <a:pt x="3319504" y="5057729"/>
                </a:moveTo>
                <a:cubicBezTo>
                  <a:pt x="4279148" y="5057729"/>
                  <a:pt x="5057912" y="4279632"/>
                  <a:pt x="5057912" y="3319607"/>
                </a:cubicBezTo>
                <a:cubicBezTo>
                  <a:pt x="5057912" y="2359582"/>
                  <a:pt x="4279148" y="1581294"/>
                  <a:pt x="3319504" y="1581294"/>
                </a:cubicBezTo>
                <a:cubicBezTo>
                  <a:pt x="2359861" y="1581294"/>
                  <a:pt x="1581192" y="2359582"/>
                  <a:pt x="1581192" y="3319512"/>
                </a:cubicBezTo>
                <a:cubicBezTo>
                  <a:pt x="1581192" y="4279441"/>
                  <a:pt x="2359480" y="5057634"/>
                  <a:pt x="3319504" y="5057634"/>
                </a:cubicBezTo>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3" name="Rechthoek 22">
            <a:extLst>
              <a:ext uri="{FF2B5EF4-FFF2-40B4-BE49-F238E27FC236}">
                <a16:creationId xmlns:a16="http://schemas.microsoft.com/office/drawing/2014/main" id="{7DC45953-A42E-4822-A553-CF8C4E660C83}"/>
              </a:ext>
            </a:extLst>
          </p:cNvPr>
          <p:cNvSpPr/>
          <p:nvPr/>
        </p:nvSpPr>
        <p:spPr>
          <a:xfrm rot="3657484">
            <a:off x="152287" y="661616"/>
            <a:ext cx="226963" cy="981458"/>
          </a:xfrm>
          <a:prstGeom prst="rect">
            <a:avLst/>
          </a:pr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grpSp>
        <p:nvGrpSpPr>
          <p:cNvPr id="30" name="Groep 29">
            <a:extLst>
              <a:ext uri="{FF2B5EF4-FFF2-40B4-BE49-F238E27FC236}">
                <a16:creationId xmlns:a16="http://schemas.microsoft.com/office/drawing/2014/main" id="{D23DDBD4-3D8C-4FE1-87B8-408D0EC0A5D0}"/>
              </a:ext>
            </a:extLst>
          </p:cNvPr>
          <p:cNvGrpSpPr/>
          <p:nvPr/>
        </p:nvGrpSpPr>
        <p:grpSpPr>
          <a:xfrm>
            <a:off x="-4604842" y="254443"/>
            <a:ext cx="4228451" cy="3568234"/>
            <a:chOff x="-3535859" y="1276351"/>
            <a:chExt cx="4228451" cy="3568234"/>
          </a:xfrm>
        </p:grpSpPr>
        <p:sp>
          <p:nvSpPr>
            <p:cNvPr id="33" name="Rechthoek 32">
              <a:extLst>
                <a:ext uri="{FF2B5EF4-FFF2-40B4-BE49-F238E27FC236}">
                  <a16:creationId xmlns:a16="http://schemas.microsoft.com/office/drawing/2014/main" id="{5F3C2A04-787F-4DDA-93B5-9A8F0BECECF1}"/>
                </a:ext>
              </a:extLst>
            </p:cNvPr>
            <p:cNvSpPr/>
            <p:nvPr userDrawn="1"/>
          </p:nvSpPr>
          <p:spPr>
            <a:xfrm>
              <a:off x="-3529258" y="1276351"/>
              <a:ext cx="2572469" cy="280344"/>
            </a:xfrm>
            <a:prstGeom prst="rect">
              <a:avLst/>
            </a:prstGeom>
            <a:noFill/>
            <a:ln w="25400" cap="flat" cmpd="sng" algn="ctr">
              <a:noFill/>
              <a:prstDash val="solid"/>
            </a:ln>
            <a:effectLst/>
          </p:spPr>
          <p:txBody>
            <a:bodyPr lIns="0" tIns="0" rIns="0" bIns="0" rtlCol="0" anchor="t"/>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nl-NL" sz="1800" b="0" i="0" kern="1200" noProof="0" dirty="0">
                  <a:solidFill>
                    <a:schemeClr val="tx1"/>
                  </a:solidFill>
                  <a:latin typeface="+mn-lt"/>
                  <a:ea typeface="+mn-ea"/>
                  <a:cs typeface="+mn-cs"/>
                </a:rPr>
                <a:t>Tekst niveaus</a:t>
              </a:r>
            </a:p>
          </p:txBody>
        </p:sp>
        <p:sp>
          <p:nvSpPr>
            <p:cNvPr id="34" name="Textfield placeholder">
              <a:extLst>
                <a:ext uri="{FF2B5EF4-FFF2-40B4-BE49-F238E27FC236}">
                  <a16:creationId xmlns:a16="http://schemas.microsoft.com/office/drawing/2014/main" id="{18EF3309-A426-45E8-89F6-76669134A774}"/>
                </a:ext>
              </a:extLst>
            </p:cNvPr>
            <p:cNvSpPr txBox="1">
              <a:spLocks/>
            </p:cNvSpPr>
            <p:nvPr userDrawn="1"/>
          </p:nvSpPr>
          <p:spPr>
            <a:xfrm>
              <a:off x="-3535859" y="2872729"/>
              <a:ext cx="3794626"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7"/>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68000" marR="0" lvl="0"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2400" kern="1200" noProof="0" dirty="0">
                  <a:solidFill>
                    <a:schemeClr val="tx1"/>
                  </a:solidFill>
                  <a:latin typeface="+mn-lt"/>
                  <a:ea typeface="+mn-ea"/>
                  <a:cs typeface="+mn-cs"/>
                </a:rPr>
                <a:t>Eerste niveau (24pt)</a:t>
              </a:r>
            </a:p>
          </p:txBody>
        </p:sp>
        <p:cxnSp>
          <p:nvCxnSpPr>
            <p:cNvPr id="36" name="Rechte verbindingslijn 35">
              <a:extLst>
                <a:ext uri="{FF2B5EF4-FFF2-40B4-BE49-F238E27FC236}">
                  <a16:creationId xmlns:a16="http://schemas.microsoft.com/office/drawing/2014/main" id="{42BA3D0F-2720-4DDA-95BE-5690ACBAAD22}"/>
                </a:ext>
              </a:extLst>
            </p:cNvPr>
            <p:cNvCxnSpPr>
              <a:cxnSpLocks/>
            </p:cNvCxnSpPr>
            <p:nvPr userDrawn="1"/>
          </p:nvCxnSpPr>
          <p:spPr>
            <a:xfrm>
              <a:off x="-3519217" y="2750438"/>
              <a:ext cx="4211809" cy="0"/>
            </a:xfrm>
            <a:prstGeom prst="line">
              <a:avLst/>
            </a:prstGeom>
            <a:noFill/>
            <a:ln w="9525" cap="flat" cmpd="sng" algn="ctr">
              <a:solidFill>
                <a:schemeClr val="accent2"/>
              </a:solidFill>
              <a:prstDash val="solid"/>
            </a:ln>
            <a:effectLst/>
          </p:spPr>
        </p:cxnSp>
        <p:sp>
          <p:nvSpPr>
            <p:cNvPr id="37" name="Rechthoek 36">
              <a:extLst>
                <a:ext uri="{FF2B5EF4-FFF2-40B4-BE49-F238E27FC236}">
                  <a16:creationId xmlns:a16="http://schemas.microsoft.com/office/drawing/2014/main" id="{39ED2A08-9FA1-402A-B29F-B8DBBB2D15E0}"/>
                </a:ext>
              </a:extLst>
            </p:cNvPr>
            <p:cNvSpPr/>
            <p:nvPr/>
          </p:nvSpPr>
          <p:spPr>
            <a:xfrm>
              <a:off x="-3526033" y="2098550"/>
              <a:ext cx="524003" cy="501028"/>
            </a:xfrm>
            <a:prstGeom prst="rect">
              <a:avLst/>
            </a:prstGeom>
            <a:solidFill>
              <a:sysClr val="window" lastClr="FFFFFF"/>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38" name="Picture 2">
              <a:extLst>
                <a:ext uri="{FF2B5EF4-FFF2-40B4-BE49-F238E27FC236}">
                  <a16:creationId xmlns:a16="http://schemas.microsoft.com/office/drawing/2014/main" id="{8ACE70A3-0BC6-451D-A713-263485CC2C79}"/>
                </a:ext>
              </a:extLst>
            </p:cNvPr>
            <p:cNvPicPr>
              <a:picLocks noChangeAspect="1" noChangeArrowheads="1"/>
            </p:cNvPicPr>
            <p:nvPr/>
          </p:nvPicPr>
          <p:blipFill>
            <a:blip r:embed="rId48" cstate="print">
              <a:extLst>
                <a:ext uri="{28A0092B-C50C-407E-A947-70E740481C1C}">
                  <a14:useLocalDpi xmlns:a14="http://schemas.microsoft.com/office/drawing/2010/main"/>
                </a:ext>
              </a:extLst>
            </a:blip>
            <a:srcRect/>
            <a:stretch>
              <a:fillRect/>
            </a:stretch>
          </p:blipFill>
          <p:spPr bwMode="auto">
            <a:xfrm>
              <a:off x="-3285599" y="2118058"/>
              <a:ext cx="222649" cy="205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
              <a:extLst>
                <a:ext uri="{FF2B5EF4-FFF2-40B4-BE49-F238E27FC236}">
                  <a16:creationId xmlns:a16="http://schemas.microsoft.com/office/drawing/2014/main" id="{A751367F-4AD4-4B50-806D-8369C748EF9F}"/>
                </a:ext>
              </a:extLst>
            </p:cNvPr>
            <p:cNvPicPr>
              <a:picLocks noChangeAspect="1" noChangeArrowheads="1"/>
            </p:cNvPicPr>
            <p:nvPr/>
          </p:nvPicPr>
          <p:blipFill>
            <a:blip r:embed="rId49" cstate="print">
              <a:extLst>
                <a:ext uri="{28A0092B-C50C-407E-A947-70E740481C1C}">
                  <a14:useLocalDpi xmlns:a14="http://schemas.microsoft.com/office/drawing/2010/main"/>
                </a:ext>
              </a:extLst>
            </a:blip>
            <a:srcRect/>
            <a:stretch>
              <a:fillRect/>
            </a:stretch>
          </p:blipFill>
          <p:spPr bwMode="auto">
            <a:xfrm>
              <a:off x="-3494219" y="2118058"/>
              <a:ext cx="203698" cy="209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hthoek 39">
              <a:extLst>
                <a:ext uri="{FF2B5EF4-FFF2-40B4-BE49-F238E27FC236}">
                  <a16:creationId xmlns:a16="http://schemas.microsoft.com/office/drawing/2014/main" id="{DC0DBC27-D709-4DD4-B2EA-B78451AB7B3A}"/>
                </a:ext>
              </a:extLst>
            </p:cNvPr>
            <p:cNvSpPr/>
            <p:nvPr/>
          </p:nvSpPr>
          <p:spPr>
            <a:xfrm>
              <a:off x="-3449390" y="2414273"/>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1" name="Rechthoek 40">
              <a:extLst>
                <a:ext uri="{FF2B5EF4-FFF2-40B4-BE49-F238E27FC236}">
                  <a16:creationId xmlns:a16="http://schemas.microsoft.com/office/drawing/2014/main" id="{E4CF6900-111A-400C-84D5-356D5D0B9BFE}"/>
                </a:ext>
              </a:extLst>
            </p:cNvPr>
            <p:cNvSpPr/>
            <p:nvPr/>
          </p:nvSpPr>
          <p:spPr>
            <a:xfrm>
              <a:off x="-3449390" y="2437198"/>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2" name="Rechthoek 41">
              <a:extLst>
                <a:ext uri="{FF2B5EF4-FFF2-40B4-BE49-F238E27FC236}">
                  <a16:creationId xmlns:a16="http://schemas.microsoft.com/office/drawing/2014/main" id="{E7B0494F-75C3-41F1-AC11-A74AA88EBE1E}"/>
                </a:ext>
              </a:extLst>
            </p:cNvPr>
            <p:cNvSpPr/>
            <p:nvPr/>
          </p:nvSpPr>
          <p:spPr>
            <a:xfrm>
              <a:off x="-3449390" y="2483049"/>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3" name="Rechthoek 42">
              <a:extLst>
                <a:ext uri="{FF2B5EF4-FFF2-40B4-BE49-F238E27FC236}">
                  <a16:creationId xmlns:a16="http://schemas.microsoft.com/office/drawing/2014/main" id="{C4F9EF3E-52F9-4EC3-BF3A-E154A0AB1CEE}"/>
                </a:ext>
              </a:extLst>
            </p:cNvPr>
            <p:cNvSpPr/>
            <p:nvPr/>
          </p:nvSpPr>
          <p:spPr>
            <a:xfrm>
              <a:off x="-3449390" y="2505976"/>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4" name="Rechthoek 43">
              <a:extLst>
                <a:ext uri="{FF2B5EF4-FFF2-40B4-BE49-F238E27FC236}">
                  <a16:creationId xmlns:a16="http://schemas.microsoft.com/office/drawing/2014/main" id="{AB7389C3-38FC-44D2-A216-25E676343FEF}"/>
                </a:ext>
              </a:extLst>
            </p:cNvPr>
            <p:cNvSpPr/>
            <p:nvPr/>
          </p:nvSpPr>
          <p:spPr>
            <a:xfrm>
              <a:off x="-3449390" y="2460124"/>
              <a:ext cx="130689" cy="11429"/>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nvGrpSpPr>
            <p:cNvPr id="45" name="Groep 44">
              <a:extLst>
                <a:ext uri="{FF2B5EF4-FFF2-40B4-BE49-F238E27FC236}">
                  <a16:creationId xmlns:a16="http://schemas.microsoft.com/office/drawing/2014/main" id="{D3854F12-BB4A-4CD8-BFA4-365C297CF370}"/>
                </a:ext>
              </a:extLst>
            </p:cNvPr>
            <p:cNvGrpSpPr/>
            <p:nvPr/>
          </p:nvGrpSpPr>
          <p:grpSpPr>
            <a:xfrm>
              <a:off x="-3226194" y="2414273"/>
              <a:ext cx="60967" cy="103132"/>
              <a:chOff x="-2796392" y="1123442"/>
              <a:chExt cx="120832" cy="104889"/>
            </a:xfrm>
          </p:grpSpPr>
          <p:sp>
            <p:nvSpPr>
              <p:cNvPr id="85" name="Rechthoek 84">
                <a:extLst>
                  <a:ext uri="{FF2B5EF4-FFF2-40B4-BE49-F238E27FC236}">
                    <a16:creationId xmlns:a16="http://schemas.microsoft.com/office/drawing/2014/main" id="{B5C5AADE-89DB-401F-98C0-13B9110F1CCE}"/>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6" name="Rechthoek 85">
                <a:extLst>
                  <a:ext uri="{FF2B5EF4-FFF2-40B4-BE49-F238E27FC236}">
                    <a16:creationId xmlns:a16="http://schemas.microsoft.com/office/drawing/2014/main" id="{3956C632-C740-4B2E-ADBC-CF31FE1770D5}"/>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7" name="Rechthoek 86">
                <a:extLst>
                  <a:ext uri="{FF2B5EF4-FFF2-40B4-BE49-F238E27FC236}">
                    <a16:creationId xmlns:a16="http://schemas.microsoft.com/office/drawing/2014/main" id="{AB66ACFE-BC63-4FDC-8173-2FAA7BF33666}"/>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8" name="Rechthoek 87">
                <a:extLst>
                  <a:ext uri="{FF2B5EF4-FFF2-40B4-BE49-F238E27FC236}">
                    <a16:creationId xmlns:a16="http://schemas.microsoft.com/office/drawing/2014/main" id="{9B895C8D-3A6E-4CD9-8D8B-7BBB9DDE3516}"/>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9" name="Rechthoek 88">
                <a:extLst>
                  <a:ext uri="{FF2B5EF4-FFF2-40B4-BE49-F238E27FC236}">
                    <a16:creationId xmlns:a16="http://schemas.microsoft.com/office/drawing/2014/main" id="{B63AFC5A-7D38-400E-B1F5-6FE951A951AD}"/>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grpSp>
          <p:nvGrpSpPr>
            <p:cNvPr id="46" name="Groep 45">
              <a:extLst>
                <a:ext uri="{FF2B5EF4-FFF2-40B4-BE49-F238E27FC236}">
                  <a16:creationId xmlns:a16="http://schemas.microsoft.com/office/drawing/2014/main" id="{1A3CB10B-7A9F-4B66-900D-08A99F1A934F}"/>
                </a:ext>
              </a:extLst>
            </p:cNvPr>
            <p:cNvGrpSpPr/>
            <p:nvPr/>
          </p:nvGrpSpPr>
          <p:grpSpPr>
            <a:xfrm>
              <a:off x="-3155473" y="2414273"/>
              <a:ext cx="60967" cy="103132"/>
              <a:chOff x="-2796392" y="1123442"/>
              <a:chExt cx="120832" cy="104889"/>
            </a:xfrm>
          </p:grpSpPr>
          <p:sp>
            <p:nvSpPr>
              <p:cNvPr id="80" name="Rechthoek 79">
                <a:extLst>
                  <a:ext uri="{FF2B5EF4-FFF2-40B4-BE49-F238E27FC236}">
                    <a16:creationId xmlns:a16="http://schemas.microsoft.com/office/drawing/2014/main" id="{1F6BD51E-C6B5-4A14-B05D-C2AFCD0331C6}"/>
                  </a:ext>
                </a:extLst>
              </p:cNvPr>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1" name="Rechthoek 80">
                <a:extLst>
                  <a:ext uri="{FF2B5EF4-FFF2-40B4-BE49-F238E27FC236}">
                    <a16:creationId xmlns:a16="http://schemas.microsoft.com/office/drawing/2014/main" id="{15545EAF-9F72-456F-B31B-2F821635FF07}"/>
                  </a:ext>
                </a:extLst>
              </p:cNvPr>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2" name="Rechthoek 81">
                <a:extLst>
                  <a:ext uri="{FF2B5EF4-FFF2-40B4-BE49-F238E27FC236}">
                    <a16:creationId xmlns:a16="http://schemas.microsoft.com/office/drawing/2014/main" id="{7B0D546D-E827-4DB5-BDA2-9231DF0BC1A1}"/>
                  </a:ext>
                </a:extLst>
              </p:cNvPr>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3" name="Rechthoek 82">
                <a:extLst>
                  <a:ext uri="{FF2B5EF4-FFF2-40B4-BE49-F238E27FC236}">
                    <a16:creationId xmlns:a16="http://schemas.microsoft.com/office/drawing/2014/main" id="{8FAA656F-5081-43C4-ADE4-81DD3B94DC3F}"/>
                  </a:ext>
                </a:extLst>
              </p:cNvPr>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84" name="Rechthoek 83">
                <a:extLst>
                  <a:ext uri="{FF2B5EF4-FFF2-40B4-BE49-F238E27FC236}">
                    <a16:creationId xmlns:a16="http://schemas.microsoft.com/office/drawing/2014/main" id="{112581B2-3D57-414C-82AE-A50E8036F669}"/>
                  </a:ext>
                </a:extLst>
              </p:cNvPr>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sp>
          <p:nvSpPr>
            <p:cNvPr id="47" name="Afgeronde rechthoek 69">
              <a:extLst>
                <a:ext uri="{FF2B5EF4-FFF2-40B4-BE49-F238E27FC236}">
                  <a16:creationId xmlns:a16="http://schemas.microsoft.com/office/drawing/2014/main" id="{95E9599E-E20B-40B8-9858-FD2C1F9E7CB5}"/>
                </a:ext>
              </a:extLst>
            </p:cNvPr>
            <p:cNvSpPr/>
            <p:nvPr/>
          </p:nvSpPr>
          <p:spPr>
            <a:xfrm>
              <a:off x="-2613177" y="2233729"/>
              <a:ext cx="313472" cy="324076"/>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8" name="Rechthoek 47">
              <a:extLst>
                <a:ext uri="{FF2B5EF4-FFF2-40B4-BE49-F238E27FC236}">
                  <a16:creationId xmlns:a16="http://schemas.microsoft.com/office/drawing/2014/main" id="{42998167-4885-47AB-83E2-FAD43D593FE7}"/>
                </a:ext>
              </a:extLst>
            </p:cNvPr>
            <p:cNvSpPr/>
            <p:nvPr userDrawn="1"/>
          </p:nvSpPr>
          <p:spPr>
            <a:xfrm>
              <a:off x="-2533793" y="231489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49" name="Rechthoek 48">
              <a:extLst>
                <a:ext uri="{FF2B5EF4-FFF2-40B4-BE49-F238E27FC236}">
                  <a16:creationId xmlns:a16="http://schemas.microsoft.com/office/drawing/2014/main" id="{E380B290-0AAA-4130-8F07-136ED90C2DA4}"/>
                </a:ext>
              </a:extLst>
            </p:cNvPr>
            <p:cNvSpPr/>
            <p:nvPr userDrawn="1"/>
          </p:nvSpPr>
          <p:spPr>
            <a:xfrm>
              <a:off x="-2533793" y="242707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0" name="Rechthoek 49">
              <a:extLst>
                <a:ext uri="{FF2B5EF4-FFF2-40B4-BE49-F238E27FC236}">
                  <a16:creationId xmlns:a16="http://schemas.microsoft.com/office/drawing/2014/main" id="{8173BF0E-28B7-44D7-8335-397F592AAA28}"/>
                </a:ext>
              </a:extLst>
            </p:cNvPr>
            <p:cNvSpPr/>
            <p:nvPr userDrawn="1"/>
          </p:nvSpPr>
          <p:spPr>
            <a:xfrm>
              <a:off x="-2533793" y="2457830"/>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1" name="Rechthoek 50">
              <a:extLst>
                <a:ext uri="{FF2B5EF4-FFF2-40B4-BE49-F238E27FC236}">
                  <a16:creationId xmlns:a16="http://schemas.microsoft.com/office/drawing/2014/main" id="{304F5F19-B3EB-43A8-936B-486D597B1FA4}"/>
                </a:ext>
              </a:extLst>
            </p:cNvPr>
            <p:cNvSpPr/>
            <p:nvPr userDrawn="1"/>
          </p:nvSpPr>
          <p:spPr>
            <a:xfrm>
              <a:off x="-2463566" y="2314891"/>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2" name="Rechthoek 51">
              <a:extLst>
                <a:ext uri="{FF2B5EF4-FFF2-40B4-BE49-F238E27FC236}">
                  <a16:creationId xmlns:a16="http://schemas.microsoft.com/office/drawing/2014/main" id="{E18B99A6-291B-4A39-91CE-821F95D90633}"/>
                </a:ext>
              </a:extLst>
            </p:cNvPr>
            <p:cNvSpPr/>
            <p:nvPr userDrawn="1"/>
          </p:nvSpPr>
          <p:spPr>
            <a:xfrm>
              <a:off x="-2463566" y="2427071"/>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3" name="Rechthoek 52">
              <a:extLst>
                <a:ext uri="{FF2B5EF4-FFF2-40B4-BE49-F238E27FC236}">
                  <a16:creationId xmlns:a16="http://schemas.microsoft.com/office/drawing/2014/main" id="{4D6D4399-0704-4EAB-A3FB-2098849CF906}"/>
                </a:ext>
              </a:extLst>
            </p:cNvPr>
            <p:cNvSpPr/>
            <p:nvPr userDrawn="1"/>
          </p:nvSpPr>
          <p:spPr>
            <a:xfrm>
              <a:off x="-2463566" y="2457830"/>
              <a:ext cx="19386"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4" name="Rechthoek 53">
              <a:extLst>
                <a:ext uri="{FF2B5EF4-FFF2-40B4-BE49-F238E27FC236}">
                  <a16:creationId xmlns:a16="http://schemas.microsoft.com/office/drawing/2014/main" id="{4A8C6C83-38B1-4BFE-BA4E-7707D08FACE1}"/>
                </a:ext>
              </a:extLst>
            </p:cNvPr>
            <p:cNvSpPr/>
            <p:nvPr userDrawn="1"/>
          </p:nvSpPr>
          <p:spPr>
            <a:xfrm>
              <a:off x="-2463566" y="235151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5" name="Rechthoek 54">
              <a:extLst>
                <a:ext uri="{FF2B5EF4-FFF2-40B4-BE49-F238E27FC236}">
                  <a16:creationId xmlns:a16="http://schemas.microsoft.com/office/drawing/2014/main" id="{28F79BBB-6222-480D-BBCB-246FD50184A4}"/>
                </a:ext>
              </a:extLst>
            </p:cNvPr>
            <p:cNvSpPr/>
            <p:nvPr userDrawn="1"/>
          </p:nvSpPr>
          <p:spPr>
            <a:xfrm>
              <a:off x="-2463566" y="2390191"/>
              <a:ext cx="66123" cy="2284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6" name="Rechthoek 55">
              <a:extLst>
                <a:ext uri="{FF2B5EF4-FFF2-40B4-BE49-F238E27FC236}">
                  <a16:creationId xmlns:a16="http://schemas.microsoft.com/office/drawing/2014/main" id="{57601F41-FEF3-4939-A92F-A6278AEECC78}"/>
                </a:ext>
              </a:extLst>
            </p:cNvPr>
            <p:cNvSpPr/>
            <p:nvPr userDrawn="1"/>
          </p:nvSpPr>
          <p:spPr>
            <a:xfrm>
              <a:off x="-2463566" y="2288938"/>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7" name="Rechthoek 56">
              <a:extLst>
                <a:ext uri="{FF2B5EF4-FFF2-40B4-BE49-F238E27FC236}">
                  <a16:creationId xmlns:a16="http://schemas.microsoft.com/office/drawing/2014/main" id="{9CB5F087-A06A-4054-8B50-084EBF2D22A1}"/>
                </a:ext>
              </a:extLst>
            </p:cNvPr>
            <p:cNvSpPr/>
            <p:nvPr userDrawn="1"/>
          </p:nvSpPr>
          <p:spPr>
            <a:xfrm>
              <a:off x="-2463566" y="2485433"/>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58" name="Vrije vorm 81">
              <a:extLst>
                <a:ext uri="{FF2B5EF4-FFF2-40B4-BE49-F238E27FC236}">
                  <a16:creationId xmlns:a16="http://schemas.microsoft.com/office/drawing/2014/main" id="{4704B8BE-1D4B-459C-81C0-3ABFF4F6E2B8}"/>
                </a:ext>
              </a:extLst>
            </p:cNvPr>
            <p:cNvSpPr/>
            <p:nvPr userDrawn="1"/>
          </p:nvSpPr>
          <p:spPr>
            <a:xfrm>
              <a:off x="-2560099" y="2345784"/>
              <a:ext cx="83088" cy="66075"/>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3C75"/>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cxnSp>
          <p:nvCxnSpPr>
            <p:cNvPr id="59" name="Rechte verbindingslijn 58">
              <a:extLst>
                <a:ext uri="{FF2B5EF4-FFF2-40B4-BE49-F238E27FC236}">
                  <a16:creationId xmlns:a16="http://schemas.microsoft.com/office/drawing/2014/main" id="{B77E465E-4994-4410-BDFB-E74DA9915A43}"/>
                </a:ext>
              </a:extLst>
            </p:cNvPr>
            <p:cNvCxnSpPr>
              <a:cxnSpLocks/>
              <a:stCxn id="39" idx="2"/>
              <a:endCxn id="47" idx="1"/>
            </p:cNvCxnSpPr>
            <p:nvPr/>
          </p:nvCxnSpPr>
          <p:spPr>
            <a:xfrm>
              <a:off x="-3392370" y="2328000"/>
              <a:ext cx="779193" cy="67767"/>
            </a:xfrm>
            <a:prstGeom prst="line">
              <a:avLst/>
            </a:prstGeom>
            <a:noFill/>
            <a:ln w="9525" cap="flat" cmpd="sng" algn="ctr">
              <a:solidFill>
                <a:schemeClr val="accent1"/>
              </a:solidFill>
              <a:prstDash val="solid"/>
              <a:headEnd type="oval"/>
            </a:ln>
            <a:effectLst/>
          </p:spPr>
        </p:cxnSp>
        <p:cxnSp>
          <p:nvCxnSpPr>
            <p:cNvPr id="60" name="Rechte verbindingslijn 59">
              <a:extLst>
                <a:ext uri="{FF2B5EF4-FFF2-40B4-BE49-F238E27FC236}">
                  <a16:creationId xmlns:a16="http://schemas.microsoft.com/office/drawing/2014/main" id="{2ACA9F2F-7161-4B1B-95F0-773CFC065A9C}"/>
                </a:ext>
              </a:extLst>
            </p:cNvPr>
            <p:cNvCxnSpPr>
              <a:cxnSpLocks/>
              <a:stCxn id="38" idx="3"/>
            </p:cNvCxnSpPr>
            <p:nvPr/>
          </p:nvCxnSpPr>
          <p:spPr>
            <a:xfrm flipV="1">
              <a:off x="-3062950" y="1946509"/>
              <a:ext cx="449773" cy="274265"/>
            </a:xfrm>
            <a:prstGeom prst="line">
              <a:avLst/>
            </a:prstGeom>
            <a:noFill/>
            <a:ln w="9525" cap="flat" cmpd="sng" algn="ctr">
              <a:solidFill>
                <a:schemeClr val="accent1"/>
              </a:solidFill>
              <a:prstDash val="solid"/>
              <a:headEnd type="oval"/>
            </a:ln>
            <a:effectLst/>
          </p:spPr>
        </p:cxnSp>
        <p:sp>
          <p:nvSpPr>
            <p:cNvPr id="61" name="Textfield placeholder">
              <a:extLst>
                <a:ext uri="{FF2B5EF4-FFF2-40B4-BE49-F238E27FC236}">
                  <a16:creationId xmlns:a16="http://schemas.microsoft.com/office/drawing/2014/main" id="{67612CB7-E152-4146-9333-3571C004D037}"/>
                </a:ext>
              </a:extLst>
            </p:cNvPr>
            <p:cNvSpPr txBox="1">
              <a:spLocks/>
            </p:cNvSpPr>
            <p:nvPr/>
          </p:nvSpPr>
          <p:spPr>
            <a:xfrm>
              <a:off x="-2006299" y="1761809"/>
              <a:ext cx="1233012" cy="42769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7"/>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iveau omhoog</a:t>
              </a:r>
            </a:p>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Level up</a:t>
              </a:r>
            </a:p>
          </p:txBody>
        </p:sp>
        <p:sp>
          <p:nvSpPr>
            <p:cNvPr id="62" name="Textfield placeholder">
              <a:extLst>
                <a:ext uri="{FF2B5EF4-FFF2-40B4-BE49-F238E27FC236}">
                  <a16:creationId xmlns:a16="http://schemas.microsoft.com/office/drawing/2014/main" id="{B587428E-F5C2-474E-98CF-480220D35364}"/>
                </a:ext>
              </a:extLst>
            </p:cNvPr>
            <p:cNvSpPr txBox="1">
              <a:spLocks/>
            </p:cNvSpPr>
            <p:nvPr/>
          </p:nvSpPr>
          <p:spPr>
            <a:xfrm>
              <a:off x="-2006300" y="2189360"/>
              <a:ext cx="1070223"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7"/>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Niveau omlaag</a:t>
              </a:r>
            </a:p>
            <a:p>
              <a:pPr marL="0" marR="0" lvl="0" indent="0" algn="l" defTabSz="1086989" rtl="0" eaLnBrk="1" fontAlgn="auto" latinLnBrk="0" hangingPunct="1">
                <a:lnSpc>
                  <a:spcPct val="100000"/>
                </a:lnSpc>
                <a:spcBef>
                  <a:spcPts val="0"/>
                </a:spcBef>
                <a:spcAft>
                  <a:spcPts val="0"/>
                </a:spcAft>
                <a:buClrTx/>
                <a:buSzPct val="80000"/>
                <a:buFont typeface="Wingdings" pitchFamily="2" charset="2"/>
                <a:buNone/>
                <a:tabLst/>
                <a:defRPr/>
              </a:pPr>
              <a:r>
                <a:rPr kumimoji="0" lang="nl-NL" sz="1100" b="0" i="0" u="none" strike="noStrike" kern="120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Level down</a:t>
              </a:r>
            </a:p>
          </p:txBody>
        </p:sp>
        <p:sp>
          <p:nvSpPr>
            <p:cNvPr id="64" name="Afgeronde rechthoek 67">
              <a:extLst>
                <a:ext uri="{FF2B5EF4-FFF2-40B4-BE49-F238E27FC236}">
                  <a16:creationId xmlns:a16="http://schemas.microsoft.com/office/drawing/2014/main" id="{43112927-0724-4911-9034-00F2111102C9}"/>
                </a:ext>
              </a:extLst>
            </p:cNvPr>
            <p:cNvSpPr/>
            <p:nvPr/>
          </p:nvSpPr>
          <p:spPr>
            <a:xfrm>
              <a:off x="-3519967" y="1706764"/>
              <a:ext cx="513775" cy="333502"/>
            </a:xfrm>
            <a:prstGeom prst="roundRect">
              <a:avLst>
                <a:gd name="adj" fmla="val 7565"/>
              </a:avLst>
            </a:prstGeom>
            <a:gradFill>
              <a:gsLst>
                <a:gs pos="0">
                  <a:srgbClr val="FFEC8F"/>
                </a:gs>
                <a:gs pos="100000">
                  <a:srgbClr val="FFFFFF"/>
                </a:gs>
              </a:gsLst>
              <a:lin ang="5400000" scaled="0"/>
            </a:gra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5" name="Vrije vorm 68">
              <a:extLst>
                <a:ext uri="{FF2B5EF4-FFF2-40B4-BE49-F238E27FC236}">
                  <a16:creationId xmlns:a16="http://schemas.microsoft.com/office/drawing/2014/main" id="{BAA50536-9DAC-4DE5-9192-7EDE0EE866F1}"/>
                </a:ext>
              </a:extLst>
            </p:cNvPr>
            <p:cNvSpPr/>
            <p:nvPr/>
          </p:nvSpPr>
          <p:spPr>
            <a:xfrm>
              <a:off x="-3526032" y="1748201"/>
              <a:ext cx="519840" cy="297000"/>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9DAB99">
                  <a:lumMod val="90000"/>
                </a:srgbClr>
              </a:solidFill>
              <a:prstDash val="solid"/>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tart</a:t>
              </a:r>
            </a:p>
          </p:txBody>
        </p:sp>
        <p:cxnSp>
          <p:nvCxnSpPr>
            <p:cNvPr id="66" name="Rechte verbindingslijn 65">
              <a:extLst>
                <a:ext uri="{FF2B5EF4-FFF2-40B4-BE49-F238E27FC236}">
                  <a16:creationId xmlns:a16="http://schemas.microsoft.com/office/drawing/2014/main" id="{C3AAF1EA-6F8D-481D-8838-22DBC5413BE7}"/>
                </a:ext>
              </a:extLst>
            </p:cNvPr>
            <p:cNvCxnSpPr>
              <a:cxnSpLocks/>
            </p:cNvCxnSpPr>
            <p:nvPr/>
          </p:nvCxnSpPr>
          <p:spPr>
            <a:xfrm>
              <a:off x="-3521423" y="1600939"/>
              <a:ext cx="4214015" cy="0"/>
            </a:xfrm>
            <a:prstGeom prst="line">
              <a:avLst/>
            </a:prstGeom>
            <a:noFill/>
            <a:ln w="9525" cap="flat" cmpd="sng" algn="ctr">
              <a:solidFill>
                <a:schemeClr val="accent2"/>
              </a:solidFill>
              <a:prstDash val="solid"/>
            </a:ln>
            <a:effectLst/>
          </p:spPr>
        </p:cxnSp>
        <p:grpSp>
          <p:nvGrpSpPr>
            <p:cNvPr id="67" name="Groep 66">
              <a:extLst>
                <a:ext uri="{FF2B5EF4-FFF2-40B4-BE49-F238E27FC236}">
                  <a16:creationId xmlns:a16="http://schemas.microsoft.com/office/drawing/2014/main" id="{DFE0C172-BC2D-4D64-BDB6-CDF2202E72B8}"/>
                </a:ext>
              </a:extLst>
            </p:cNvPr>
            <p:cNvGrpSpPr/>
            <p:nvPr userDrawn="1"/>
          </p:nvGrpSpPr>
          <p:grpSpPr>
            <a:xfrm flipH="1">
              <a:off x="-2613177" y="1836300"/>
              <a:ext cx="313472" cy="324076"/>
              <a:chOff x="-2613177" y="1836300"/>
              <a:chExt cx="313472" cy="324076"/>
            </a:xfrm>
          </p:grpSpPr>
          <p:sp>
            <p:nvSpPr>
              <p:cNvPr id="68" name="Afgeronde rechthoek 69">
                <a:extLst>
                  <a:ext uri="{FF2B5EF4-FFF2-40B4-BE49-F238E27FC236}">
                    <a16:creationId xmlns:a16="http://schemas.microsoft.com/office/drawing/2014/main" id="{61516DF4-C97E-472B-A649-DEF3C006D0D3}"/>
                  </a:ext>
                </a:extLst>
              </p:cNvPr>
              <p:cNvSpPr/>
              <p:nvPr userDrawn="1"/>
            </p:nvSpPr>
            <p:spPr>
              <a:xfrm>
                <a:off x="-2613177" y="1836300"/>
                <a:ext cx="313472" cy="324076"/>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69" name="Rechthoek 68">
                <a:extLst>
                  <a:ext uri="{FF2B5EF4-FFF2-40B4-BE49-F238E27FC236}">
                    <a16:creationId xmlns:a16="http://schemas.microsoft.com/office/drawing/2014/main" id="{E88D2C4A-19E7-4422-B250-8498F51DA8F7}"/>
                  </a:ext>
                </a:extLst>
              </p:cNvPr>
              <p:cNvSpPr/>
              <p:nvPr userDrawn="1"/>
            </p:nvSpPr>
            <p:spPr>
              <a:xfrm>
                <a:off x="-2533793" y="1917462"/>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0" name="Rechthoek 69">
                <a:extLst>
                  <a:ext uri="{FF2B5EF4-FFF2-40B4-BE49-F238E27FC236}">
                    <a16:creationId xmlns:a16="http://schemas.microsoft.com/office/drawing/2014/main" id="{A5208688-A8E9-4B12-BD22-7E21B50E632F}"/>
                  </a:ext>
                </a:extLst>
              </p:cNvPr>
              <p:cNvSpPr/>
              <p:nvPr userDrawn="1"/>
            </p:nvSpPr>
            <p:spPr>
              <a:xfrm>
                <a:off x="-2533793" y="2029642"/>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1" name="Rechthoek 70">
                <a:extLst>
                  <a:ext uri="{FF2B5EF4-FFF2-40B4-BE49-F238E27FC236}">
                    <a16:creationId xmlns:a16="http://schemas.microsoft.com/office/drawing/2014/main" id="{C1EC612B-15F0-4635-A1FD-033A04B859B5}"/>
                  </a:ext>
                </a:extLst>
              </p:cNvPr>
              <p:cNvSpPr/>
              <p:nvPr userDrawn="1"/>
            </p:nvSpPr>
            <p:spPr>
              <a:xfrm>
                <a:off x="-2533793" y="2060401"/>
                <a:ext cx="49894"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2" name="Rechthoek 71">
                <a:extLst>
                  <a:ext uri="{FF2B5EF4-FFF2-40B4-BE49-F238E27FC236}">
                    <a16:creationId xmlns:a16="http://schemas.microsoft.com/office/drawing/2014/main" id="{424D998B-A988-4F8D-8B18-3037CE5FE02A}"/>
                  </a:ext>
                </a:extLst>
              </p:cNvPr>
              <p:cNvSpPr/>
              <p:nvPr userDrawn="1"/>
            </p:nvSpPr>
            <p:spPr>
              <a:xfrm>
                <a:off x="-2463566" y="191746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3" name="Rechthoek 72">
                <a:extLst>
                  <a:ext uri="{FF2B5EF4-FFF2-40B4-BE49-F238E27FC236}">
                    <a16:creationId xmlns:a16="http://schemas.microsoft.com/office/drawing/2014/main" id="{9892A9BE-4BF8-419B-9D77-7D83C0A1FB6D}"/>
                  </a:ext>
                </a:extLst>
              </p:cNvPr>
              <p:cNvSpPr/>
              <p:nvPr userDrawn="1"/>
            </p:nvSpPr>
            <p:spPr>
              <a:xfrm>
                <a:off x="-2463566" y="2029642"/>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4" name="Rechthoek 73">
                <a:extLst>
                  <a:ext uri="{FF2B5EF4-FFF2-40B4-BE49-F238E27FC236}">
                    <a16:creationId xmlns:a16="http://schemas.microsoft.com/office/drawing/2014/main" id="{C45066B9-85D1-42C4-BAB7-65B5653794A9}"/>
                  </a:ext>
                </a:extLst>
              </p:cNvPr>
              <p:cNvSpPr/>
              <p:nvPr userDrawn="1"/>
            </p:nvSpPr>
            <p:spPr>
              <a:xfrm>
                <a:off x="-2463566" y="2060401"/>
                <a:ext cx="19386"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5" name="Rechthoek 74">
                <a:extLst>
                  <a:ext uri="{FF2B5EF4-FFF2-40B4-BE49-F238E27FC236}">
                    <a16:creationId xmlns:a16="http://schemas.microsoft.com/office/drawing/2014/main" id="{D509E1D1-2E87-42B0-8ED4-3639463FD97A}"/>
                  </a:ext>
                </a:extLst>
              </p:cNvPr>
              <p:cNvSpPr/>
              <p:nvPr userDrawn="1"/>
            </p:nvSpPr>
            <p:spPr>
              <a:xfrm>
                <a:off x="-2463566" y="1954083"/>
                <a:ext cx="11078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6" name="Rechthoek 75">
                <a:extLst>
                  <a:ext uri="{FF2B5EF4-FFF2-40B4-BE49-F238E27FC236}">
                    <a16:creationId xmlns:a16="http://schemas.microsoft.com/office/drawing/2014/main" id="{4142553F-BC77-45ED-9F88-13220EF1112E}"/>
                  </a:ext>
                </a:extLst>
              </p:cNvPr>
              <p:cNvSpPr/>
              <p:nvPr userDrawn="1"/>
            </p:nvSpPr>
            <p:spPr>
              <a:xfrm>
                <a:off x="-2463566" y="1992762"/>
                <a:ext cx="66123" cy="22844"/>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7" name="Rechthoek 76">
                <a:extLst>
                  <a:ext uri="{FF2B5EF4-FFF2-40B4-BE49-F238E27FC236}">
                    <a16:creationId xmlns:a16="http://schemas.microsoft.com/office/drawing/2014/main" id="{B6166E0B-26D8-438C-8884-DB863EE2C2F8}"/>
                  </a:ext>
                </a:extLst>
              </p:cNvPr>
              <p:cNvSpPr/>
              <p:nvPr userDrawn="1"/>
            </p:nvSpPr>
            <p:spPr>
              <a:xfrm>
                <a:off x="-2463566" y="1891509"/>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8" name="Rechthoek 77">
                <a:extLst>
                  <a:ext uri="{FF2B5EF4-FFF2-40B4-BE49-F238E27FC236}">
                    <a16:creationId xmlns:a16="http://schemas.microsoft.com/office/drawing/2014/main" id="{98D98984-474F-42C2-A901-161A291E73A7}"/>
                  </a:ext>
                </a:extLst>
              </p:cNvPr>
              <p:cNvSpPr/>
              <p:nvPr userDrawn="1"/>
            </p:nvSpPr>
            <p:spPr>
              <a:xfrm>
                <a:off x="-2463566" y="2088004"/>
                <a:ext cx="9693" cy="17163"/>
              </a:xfrm>
              <a:prstGeom prst="rect">
                <a:avLst/>
              </a:prstGeom>
              <a:solidFill>
                <a:srgbClr val="000000"/>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sp>
            <p:nvSpPr>
              <p:cNvPr id="79" name="Vrije vorm 81">
                <a:extLst>
                  <a:ext uri="{FF2B5EF4-FFF2-40B4-BE49-F238E27FC236}">
                    <a16:creationId xmlns:a16="http://schemas.microsoft.com/office/drawing/2014/main" id="{972FCEFD-2131-4886-AB26-47210906AA6B}"/>
                  </a:ext>
                </a:extLst>
              </p:cNvPr>
              <p:cNvSpPr/>
              <p:nvPr userDrawn="1"/>
            </p:nvSpPr>
            <p:spPr>
              <a:xfrm>
                <a:off x="-2560099" y="1948355"/>
                <a:ext cx="83088" cy="66075"/>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3C75"/>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dirty="0">
                  <a:ln>
                    <a:noFill/>
                  </a:ln>
                  <a:solidFill>
                    <a:srgbClr val="BAC1D6"/>
                  </a:solidFill>
                  <a:effectLst/>
                  <a:uLnTx/>
                  <a:uFillTx/>
                  <a:latin typeface="Calibri" panose="020F0502020204030204" pitchFamily="34" charset="0"/>
                  <a:cs typeface="Segoe UI Light" panose="020B0502040204020203" pitchFamily="34" charset="0"/>
                </a:endParaRPr>
              </a:p>
            </p:txBody>
          </p:sp>
        </p:grpSp>
        <p:sp>
          <p:nvSpPr>
            <p:cNvPr id="120" name="Textfield placeholder">
              <a:extLst>
                <a:ext uri="{FF2B5EF4-FFF2-40B4-BE49-F238E27FC236}">
                  <a16:creationId xmlns:a16="http://schemas.microsoft.com/office/drawing/2014/main" id="{BB5A74E4-367F-436A-88AF-4EECA39C9ADE}"/>
                </a:ext>
              </a:extLst>
            </p:cNvPr>
            <p:cNvSpPr txBox="1">
              <a:spLocks/>
            </p:cNvSpPr>
            <p:nvPr userDrawn="1"/>
          </p:nvSpPr>
          <p:spPr>
            <a:xfrm>
              <a:off x="-3341553" y="3300318"/>
              <a:ext cx="3794626"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7"/>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96600" marR="0" lvl="1"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2000" kern="1200" noProof="0" dirty="0">
                  <a:solidFill>
                    <a:schemeClr val="tx1"/>
                  </a:solidFill>
                  <a:latin typeface="+mn-lt"/>
                  <a:ea typeface="+mn-ea"/>
                  <a:cs typeface="+mn-cs"/>
                </a:rPr>
                <a:t>Tweede niveau (20pt)</a:t>
              </a:r>
            </a:p>
          </p:txBody>
        </p:sp>
        <p:sp>
          <p:nvSpPr>
            <p:cNvPr id="121" name="Textfield placeholder">
              <a:extLst>
                <a:ext uri="{FF2B5EF4-FFF2-40B4-BE49-F238E27FC236}">
                  <a16:creationId xmlns:a16="http://schemas.microsoft.com/office/drawing/2014/main" id="{3F53EC3E-915F-4E09-B4B0-13AD082172B6}"/>
                </a:ext>
              </a:extLst>
            </p:cNvPr>
            <p:cNvSpPr txBox="1">
              <a:spLocks/>
            </p:cNvSpPr>
            <p:nvPr userDrawn="1"/>
          </p:nvSpPr>
          <p:spPr>
            <a:xfrm>
              <a:off x="-3070129" y="3727907"/>
              <a:ext cx="3762721"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7"/>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800" kern="1200" noProof="0" dirty="0">
                  <a:solidFill>
                    <a:schemeClr val="tx1"/>
                  </a:solidFill>
                  <a:latin typeface="+mn-lt"/>
                  <a:ea typeface="+mn-ea"/>
                  <a:cs typeface="+mn-cs"/>
                </a:rPr>
                <a:t>Derde niveau (18pt)</a:t>
              </a:r>
            </a:p>
          </p:txBody>
        </p:sp>
        <p:sp>
          <p:nvSpPr>
            <p:cNvPr id="122" name="Textfield placeholder">
              <a:extLst>
                <a:ext uri="{FF2B5EF4-FFF2-40B4-BE49-F238E27FC236}">
                  <a16:creationId xmlns:a16="http://schemas.microsoft.com/office/drawing/2014/main" id="{4B3DBD31-4DBA-4FA8-8E47-CD6FDC06EF1B}"/>
                </a:ext>
              </a:extLst>
            </p:cNvPr>
            <p:cNvSpPr txBox="1">
              <a:spLocks/>
            </p:cNvSpPr>
            <p:nvPr userDrawn="1"/>
          </p:nvSpPr>
          <p:spPr>
            <a:xfrm>
              <a:off x="-2613177" y="4155496"/>
              <a:ext cx="3305769"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7"/>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600" kern="1200" noProof="0" dirty="0">
                  <a:solidFill>
                    <a:schemeClr val="tx1"/>
                  </a:solidFill>
                  <a:latin typeface="+mn-lt"/>
                  <a:ea typeface="+mn-ea"/>
                  <a:cs typeface="+mn-cs"/>
                </a:rPr>
                <a:t>Vierde niveau (16pt)</a:t>
              </a:r>
            </a:p>
          </p:txBody>
        </p:sp>
        <p:sp>
          <p:nvSpPr>
            <p:cNvPr id="123" name="Textfield placeholder">
              <a:extLst>
                <a:ext uri="{FF2B5EF4-FFF2-40B4-BE49-F238E27FC236}">
                  <a16:creationId xmlns:a16="http://schemas.microsoft.com/office/drawing/2014/main" id="{6FB8D7E3-9F3D-4EF0-9C8A-088786311FC0}"/>
                </a:ext>
              </a:extLst>
            </p:cNvPr>
            <p:cNvSpPr txBox="1">
              <a:spLocks/>
            </p:cNvSpPr>
            <p:nvPr userDrawn="1"/>
          </p:nvSpPr>
          <p:spPr>
            <a:xfrm>
              <a:off x="-2188113" y="4583085"/>
              <a:ext cx="2880705"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47"/>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64875" marR="0" lvl="2" indent="-468000" algn="l" defTabSz="914400" rtl="0" eaLnBrk="1" fontAlgn="auto" latinLnBrk="0" hangingPunct="1">
                <a:lnSpc>
                  <a:spcPct val="90000"/>
                </a:lnSpc>
                <a:spcBef>
                  <a:spcPts val="1000"/>
                </a:spcBef>
                <a:spcAft>
                  <a:spcPts val="400"/>
                </a:spcAft>
                <a:buClr>
                  <a:schemeClr val="accent2"/>
                </a:buClr>
                <a:buSzPct val="100000"/>
                <a:buFont typeface="Century Gothic" panose="020B0502020202020204" pitchFamily="34" charset="0"/>
                <a:buChar char="▬"/>
                <a:tabLst/>
                <a:defRPr/>
              </a:pPr>
              <a:r>
                <a:rPr lang="nl-NL" sz="1600" kern="1200" noProof="0" dirty="0">
                  <a:solidFill>
                    <a:schemeClr val="tx1"/>
                  </a:solidFill>
                  <a:latin typeface="+mn-lt"/>
                  <a:ea typeface="+mn-ea"/>
                  <a:cs typeface="+mn-cs"/>
                </a:rPr>
                <a:t>Vijfde niveau (16pt)</a:t>
              </a:r>
            </a:p>
          </p:txBody>
        </p:sp>
      </p:grpSp>
      <p:sp>
        <p:nvSpPr>
          <p:cNvPr id="7" name="Tijdelijke aanduiding voor voettekst 6">
            <a:extLst>
              <a:ext uri="{FF2B5EF4-FFF2-40B4-BE49-F238E27FC236}">
                <a16:creationId xmlns:a16="http://schemas.microsoft.com/office/drawing/2014/main" id="{216624FE-7E7B-417B-954A-44EECD185FA4}"/>
              </a:ext>
            </a:extLst>
          </p:cNvPr>
          <p:cNvSpPr>
            <a:spLocks noGrp="1"/>
          </p:cNvSpPr>
          <p:nvPr>
            <p:ph type="ftr" sz="quarter" idx="3"/>
          </p:nvPr>
        </p:nvSpPr>
        <p:spPr>
          <a:xfrm>
            <a:off x="838200" y="6200752"/>
            <a:ext cx="9001836"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GB"/>
              <a:t>Template made by Smartpresentations</a:t>
            </a:r>
            <a:endParaRPr lang="en-GB" dirty="0"/>
          </a:p>
        </p:txBody>
      </p:sp>
      <p:sp>
        <p:nvSpPr>
          <p:cNvPr id="8" name="Tijdelijke aanduiding voor dianummer 7">
            <a:extLst>
              <a:ext uri="{FF2B5EF4-FFF2-40B4-BE49-F238E27FC236}">
                <a16:creationId xmlns:a16="http://schemas.microsoft.com/office/drawing/2014/main" id="{81637484-A90B-4745-B275-9C1F0E1055AC}"/>
              </a:ext>
            </a:extLst>
          </p:cNvPr>
          <p:cNvSpPr>
            <a:spLocks noGrp="1"/>
          </p:cNvSpPr>
          <p:nvPr>
            <p:ph type="sldNum" sz="quarter" idx="4"/>
          </p:nvPr>
        </p:nvSpPr>
        <p:spPr>
          <a:xfrm>
            <a:off x="10521814" y="6212089"/>
            <a:ext cx="1513764" cy="365125"/>
          </a:xfrm>
          <a:prstGeom prst="rect">
            <a:avLst/>
          </a:prstGeom>
        </p:spPr>
        <p:txBody>
          <a:bodyPr vert="horz" lIns="91440" tIns="45720" rIns="0" bIns="45720" rtlCol="0" anchor="ctr"/>
          <a:lstStyle>
            <a:lvl1pPr algn="r">
              <a:defRPr sz="1200">
                <a:solidFill>
                  <a:schemeClr val="tx1">
                    <a:tint val="75000"/>
                  </a:schemeClr>
                </a:solidFill>
              </a:defRPr>
            </a:lvl1pPr>
          </a:lstStyle>
          <a:p>
            <a:fld id="{761B7991-791C-44D3-A34B-0516733EAC00}" type="slidenum">
              <a:rPr lang="en-GB" smtClean="0"/>
              <a:t>‹#›</a:t>
            </a:fld>
            <a:endParaRPr lang="en-GB" dirty="0"/>
          </a:p>
        </p:txBody>
      </p:sp>
      <p:sp>
        <p:nvSpPr>
          <p:cNvPr id="124" name="Rechthoek 123">
            <a:extLst>
              <a:ext uri="{FF2B5EF4-FFF2-40B4-BE49-F238E27FC236}">
                <a16:creationId xmlns:a16="http://schemas.microsoft.com/office/drawing/2014/main" id="{F7DE521A-FD28-4674-8870-99C9719D9BA8}"/>
              </a:ext>
            </a:extLst>
          </p:cNvPr>
          <p:cNvSpPr/>
          <p:nvPr/>
        </p:nvSpPr>
        <p:spPr>
          <a:xfrm>
            <a:off x="12580194" y="352036"/>
            <a:ext cx="4366686" cy="387386"/>
          </a:xfrm>
          <a:prstGeom prst="rect">
            <a:avLst/>
          </a:prstGeom>
          <a:noFill/>
          <a:ln w="25400" cap="flat" cmpd="sng" algn="ctr">
            <a:noFill/>
            <a:prstDash val="solid"/>
          </a:ln>
          <a:effectLst/>
        </p:spPr>
        <p:txBody>
          <a:bodyPr lIns="180000" rIns="180000" rtlCol="0" anchor="t"/>
          <a:lstStyle/>
          <a:p>
            <a:pPr marL="0" marR="0" lvl="0" indent="0" defTabSz="914377" eaLnBrk="1" fontAlgn="auto" latinLnBrk="0" hangingPunct="1">
              <a:lnSpc>
                <a:spcPct val="80000"/>
              </a:lnSpc>
              <a:spcBef>
                <a:spcPts val="0"/>
              </a:spcBef>
              <a:spcAft>
                <a:spcPts val="0"/>
              </a:spcAft>
              <a:buClrTx/>
              <a:buSzTx/>
              <a:buFontTx/>
              <a:buNone/>
              <a:tabLst/>
              <a:defRPr/>
            </a:pPr>
            <a:r>
              <a:rPr lang="en-US" sz="1400" b="0" i="0" u="none" kern="1200" noProof="0" dirty="0" err="1">
                <a:solidFill>
                  <a:schemeClr val="tx1"/>
                </a:solidFill>
                <a:latin typeface="+mn-lt"/>
                <a:ea typeface="+mn-ea"/>
                <a:cs typeface="+mn-cs"/>
              </a:rPr>
              <a:t>Voettekst</a:t>
            </a:r>
            <a:r>
              <a:rPr lang="en-US" sz="1400" b="0" i="0" u="none" kern="1200" noProof="0" dirty="0">
                <a:solidFill>
                  <a:schemeClr val="tx1"/>
                </a:solidFill>
                <a:latin typeface="+mn-lt"/>
                <a:ea typeface="+mn-ea"/>
                <a:cs typeface="+mn-cs"/>
              </a:rPr>
              <a:t> </a:t>
            </a:r>
            <a:r>
              <a:rPr lang="en-US" sz="1400" b="0" i="0" u="none" kern="1200" noProof="0" dirty="0" err="1">
                <a:solidFill>
                  <a:schemeClr val="tx1"/>
                </a:solidFill>
                <a:latin typeface="+mn-lt"/>
                <a:ea typeface="+mn-ea"/>
                <a:cs typeface="+mn-cs"/>
              </a:rPr>
              <a:t>aanpassen</a:t>
            </a:r>
            <a:r>
              <a:rPr lang="en-US" sz="1400" b="0" i="0" u="none" kern="1200" noProof="0" dirty="0">
                <a:solidFill>
                  <a:schemeClr val="tx1"/>
                </a:solidFill>
                <a:latin typeface="+mn-lt"/>
                <a:ea typeface="+mn-ea"/>
                <a:cs typeface="+mn-cs"/>
              </a:rPr>
              <a:t> van de </a:t>
            </a:r>
            <a:r>
              <a:rPr lang="en-US" sz="1400" b="0" i="0" u="none" kern="1200" noProof="0" dirty="0" err="1">
                <a:solidFill>
                  <a:schemeClr val="tx1"/>
                </a:solidFill>
                <a:latin typeface="+mn-lt"/>
                <a:ea typeface="+mn-ea"/>
                <a:cs typeface="+mn-cs"/>
              </a:rPr>
              <a:t>presentatie</a:t>
            </a:r>
            <a:endParaRPr lang="nl-NL" sz="1400" b="0" i="0" u="none" kern="1200" noProof="0" dirty="0">
              <a:solidFill>
                <a:schemeClr val="tx1"/>
              </a:solidFill>
              <a:latin typeface="+mn-lt"/>
              <a:ea typeface="+mn-ea"/>
              <a:cs typeface="+mn-cs"/>
            </a:endParaRPr>
          </a:p>
        </p:txBody>
      </p:sp>
      <p:cxnSp>
        <p:nvCxnSpPr>
          <p:cNvPr id="125" name="Rechte verbindingslijn 124">
            <a:extLst>
              <a:ext uri="{FF2B5EF4-FFF2-40B4-BE49-F238E27FC236}">
                <a16:creationId xmlns:a16="http://schemas.microsoft.com/office/drawing/2014/main" id="{1606B710-69A2-4620-9154-26E4E739F958}"/>
              </a:ext>
            </a:extLst>
          </p:cNvPr>
          <p:cNvCxnSpPr>
            <a:cxnSpLocks/>
          </p:cNvCxnSpPr>
          <p:nvPr/>
        </p:nvCxnSpPr>
        <p:spPr>
          <a:xfrm>
            <a:off x="12753530" y="631447"/>
            <a:ext cx="3627293" cy="0"/>
          </a:xfrm>
          <a:prstGeom prst="line">
            <a:avLst/>
          </a:prstGeom>
          <a:noFill/>
          <a:ln w="9525" cap="flat" cmpd="sng" algn="ctr">
            <a:solidFill>
              <a:schemeClr val="accent2"/>
            </a:solidFill>
            <a:prstDash val="solid"/>
          </a:ln>
          <a:effectLst/>
        </p:spPr>
      </p:cxnSp>
      <p:sp>
        <p:nvSpPr>
          <p:cNvPr id="126" name="Tekstvak 125">
            <a:extLst>
              <a:ext uri="{FF2B5EF4-FFF2-40B4-BE49-F238E27FC236}">
                <a16:creationId xmlns:a16="http://schemas.microsoft.com/office/drawing/2014/main" id="{17A1C232-30B9-4B07-8AB1-FC3713EAA6F3}"/>
              </a:ext>
            </a:extLst>
          </p:cNvPr>
          <p:cNvSpPr txBox="1"/>
          <p:nvPr/>
        </p:nvSpPr>
        <p:spPr>
          <a:xfrm>
            <a:off x="12753526" y="731927"/>
            <a:ext cx="2877725" cy="362262"/>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Invoegen &gt;  Groep tekst &gt; Koptekst en voettekst &gt; titel instellen bij voetteks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Inser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Group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text</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Header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and</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footer</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gt; Se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title</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a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footer</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p:txBody>
      </p:sp>
      <p:sp>
        <p:nvSpPr>
          <p:cNvPr id="127" name="Rechthoek 126">
            <a:extLst>
              <a:ext uri="{FF2B5EF4-FFF2-40B4-BE49-F238E27FC236}">
                <a16:creationId xmlns:a16="http://schemas.microsoft.com/office/drawing/2014/main" id="{595DBF75-C33F-4774-8827-9E0A498545CE}"/>
              </a:ext>
            </a:extLst>
          </p:cNvPr>
          <p:cNvSpPr/>
          <p:nvPr/>
        </p:nvSpPr>
        <p:spPr>
          <a:xfrm>
            <a:off x="12589536" y="1861361"/>
            <a:ext cx="2868384" cy="387386"/>
          </a:xfrm>
          <a:prstGeom prst="rect">
            <a:avLst/>
          </a:prstGeom>
          <a:noFill/>
          <a:ln w="25400" cap="flat" cmpd="sng" algn="ctr">
            <a:noFill/>
            <a:prstDash val="solid"/>
          </a:ln>
          <a:effectLst/>
        </p:spPr>
        <p:txBody>
          <a:bodyPr lIns="180000" rIns="180000" rtlCol="0" anchor="t"/>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1400" b="0" i="0" u="none" kern="1200" noProof="0" dirty="0" err="1">
                <a:solidFill>
                  <a:schemeClr val="tx1"/>
                </a:solidFill>
                <a:latin typeface="+mn-lt"/>
                <a:ea typeface="+mn-ea"/>
                <a:cs typeface="+mn-cs"/>
              </a:rPr>
              <a:t>Iconen</a:t>
            </a:r>
            <a:endParaRPr lang="nl-NL" sz="1400" b="0" i="0" u="none" kern="1200" noProof="0" dirty="0">
              <a:solidFill>
                <a:schemeClr val="tx1"/>
              </a:solidFill>
              <a:latin typeface="+mn-lt"/>
              <a:ea typeface="+mn-ea"/>
              <a:cs typeface="+mn-cs"/>
            </a:endParaRPr>
          </a:p>
        </p:txBody>
      </p:sp>
      <p:cxnSp>
        <p:nvCxnSpPr>
          <p:cNvPr id="128" name="Rechte verbindingslijn 127">
            <a:extLst>
              <a:ext uri="{FF2B5EF4-FFF2-40B4-BE49-F238E27FC236}">
                <a16:creationId xmlns:a16="http://schemas.microsoft.com/office/drawing/2014/main" id="{D74EB6B8-DB92-4985-BEEC-A404250CE3BD}"/>
              </a:ext>
            </a:extLst>
          </p:cNvPr>
          <p:cNvCxnSpPr>
            <a:cxnSpLocks/>
          </p:cNvCxnSpPr>
          <p:nvPr/>
        </p:nvCxnSpPr>
        <p:spPr>
          <a:xfrm>
            <a:off x="12762872" y="2119801"/>
            <a:ext cx="3617951" cy="0"/>
          </a:xfrm>
          <a:prstGeom prst="line">
            <a:avLst/>
          </a:prstGeom>
          <a:noFill/>
          <a:ln w="9525" cap="flat" cmpd="sng" algn="ctr">
            <a:solidFill>
              <a:schemeClr val="accent2"/>
            </a:solidFill>
            <a:prstDash val="solid"/>
          </a:ln>
          <a:effectLst/>
        </p:spPr>
      </p:cxnSp>
      <p:sp>
        <p:nvSpPr>
          <p:cNvPr id="129" name="Tekstvak 128">
            <a:extLst>
              <a:ext uri="{FF2B5EF4-FFF2-40B4-BE49-F238E27FC236}">
                <a16:creationId xmlns:a16="http://schemas.microsoft.com/office/drawing/2014/main" id="{BD41E6CE-F692-4727-823E-4195EF1427C4}"/>
              </a:ext>
            </a:extLst>
          </p:cNvPr>
          <p:cNvSpPr txBox="1"/>
          <p:nvPr/>
        </p:nvSpPr>
        <p:spPr>
          <a:xfrm>
            <a:off x="12762868" y="2189940"/>
            <a:ext cx="3617950" cy="1306875"/>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m iconen in te voegen, kopieer je ze van de laatste slide, selecteer je het vakje waar het moet komen en druk je CTRL+V.</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Kleuren aanpasse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Icoon selecteren &gt; lint bovenaan &gt; vormcontour</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rPr>
              <a:t>OF </a:t>
            </a:r>
            <a:r>
              <a:rPr kumimoji="0" lang="nl-BE" sz="1100" b="0" i="0" u="none" strike="noStrike" kern="0" cap="none" spc="0" normalizeH="0" baseline="0" dirty="0">
                <a:ln>
                  <a:noFill/>
                </a:ln>
                <a:solidFill>
                  <a:schemeClr val="tx1"/>
                </a:solidFill>
                <a:effectLst/>
                <a:uLnTx/>
                <a:uFillTx/>
                <a:latin typeface="Calibri" panose="020F0502020204030204" pitchFamily="34" charset="0"/>
                <a:ea typeface="+mn-ea"/>
                <a:cs typeface="Segoe UI Light" panose="020B0502040204020203" pitchFamily="34" charset="0"/>
              </a:rPr>
              <a:t>Icoon selecteren &gt; rechtermuisknop &gt; vormcontour</a:t>
            </a:r>
            <a:endParaRPr kumimoji="0" lang="nl-NL" sz="1100" b="0"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1" i="0" u="none" strike="noStrike" kern="0" cap="none" spc="0" normalizeH="0" baseline="0" noProof="0" dirty="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1"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ENG</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Select icon &gt; lint bovenaan &gt;  </a:t>
            </a:r>
            <a:r>
              <a:rPr kumimoji="0" lang="nl-NL" sz="1100" b="0" i="0" u="none" strike="noStrike" kern="0" cap="none" spc="0" normalizeH="0" baseline="0" noProof="0" dirty="0" err="1">
                <a:ln>
                  <a:noFill/>
                </a:ln>
                <a:solidFill>
                  <a:schemeClr val="accent2"/>
                </a:solidFill>
                <a:effectLst/>
                <a:uLnTx/>
                <a:uFillTx/>
                <a:latin typeface="Calibri" panose="020F0502020204030204" pitchFamily="34" charset="0"/>
                <a:ea typeface="+mn-ea"/>
                <a:cs typeface="Segoe UI Light" panose="020B0502040204020203" pitchFamily="34" charset="0"/>
              </a:rPr>
              <a:t>shape</a:t>
            </a: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 contour</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rPr>
              <a:t>OR </a:t>
            </a:r>
            <a:r>
              <a:rPr kumimoji="0" lang="nl-BE" sz="1100" b="0" i="0" u="none" strike="noStrike" kern="0" cap="none" spc="0" normalizeH="0" baseline="0" dirty="0">
                <a:ln>
                  <a:noFill/>
                </a:ln>
                <a:solidFill>
                  <a:schemeClr val="accent2"/>
                </a:solidFill>
                <a:effectLst/>
                <a:uLnTx/>
                <a:uFillTx/>
                <a:latin typeface="Calibri" panose="020F0502020204030204" pitchFamily="34" charset="0"/>
                <a:ea typeface="+mn-ea"/>
                <a:cs typeface="Segoe UI Light" panose="020B0502040204020203" pitchFamily="34" charset="0"/>
              </a:rPr>
              <a:t>Select icon &gt; rechtermuisknop &gt; </a:t>
            </a:r>
            <a:r>
              <a:rPr kumimoji="0" lang="nl-BE" sz="1100" b="0" i="0" u="none" strike="noStrike" kern="0" cap="none" spc="0" normalizeH="0" baseline="0" dirty="0" err="1">
                <a:ln>
                  <a:noFill/>
                </a:ln>
                <a:solidFill>
                  <a:schemeClr val="accent2"/>
                </a:solidFill>
                <a:effectLst/>
                <a:uLnTx/>
                <a:uFillTx/>
                <a:latin typeface="Calibri" panose="020F0502020204030204" pitchFamily="34" charset="0"/>
                <a:ea typeface="+mn-ea"/>
                <a:cs typeface="Segoe UI Light" panose="020B0502040204020203" pitchFamily="34" charset="0"/>
              </a:rPr>
              <a:t>shape</a:t>
            </a:r>
            <a:r>
              <a:rPr kumimoji="0" lang="nl-BE" sz="1100" b="0" i="0" u="none" strike="noStrike" kern="0" cap="none" spc="0" normalizeH="0" baseline="0" dirty="0">
                <a:ln>
                  <a:noFill/>
                </a:ln>
                <a:solidFill>
                  <a:schemeClr val="accent2"/>
                </a:solidFill>
                <a:effectLst/>
                <a:uLnTx/>
                <a:uFillTx/>
                <a:latin typeface="Calibri" panose="020F0502020204030204" pitchFamily="34" charset="0"/>
                <a:ea typeface="+mn-ea"/>
                <a:cs typeface="Segoe UI Light" panose="020B0502040204020203" pitchFamily="34" charset="0"/>
              </a:rPr>
              <a:t> contour</a:t>
            </a:r>
            <a:endParaRPr kumimoji="0" lang="nl-NL" sz="1100" b="0" i="0" u="none" strike="noStrike" kern="0" cap="none" spc="0" normalizeH="0" baseline="0" noProof="0" dirty="0">
              <a:ln>
                <a:noFill/>
              </a:ln>
              <a:solidFill>
                <a:schemeClr val="accent2"/>
              </a:solidFill>
              <a:effectLst/>
              <a:uLnTx/>
              <a:uFillTx/>
              <a:latin typeface="Calibri" panose="020F0502020204030204" pitchFamily="34" charset="0"/>
              <a:ea typeface="+mn-ea"/>
              <a:cs typeface="Segoe UI Light" panose="020B0502040204020203" pitchFamily="34" charset="0"/>
            </a:endParaRPr>
          </a:p>
        </p:txBody>
      </p:sp>
      <p:pic>
        <p:nvPicPr>
          <p:cNvPr id="90" name="Graphic 89">
            <a:extLst>
              <a:ext uri="{FF2B5EF4-FFF2-40B4-BE49-F238E27FC236}">
                <a16:creationId xmlns:a16="http://schemas.microsoft.com/office/drawing/2014/main" id="{515D763A-B394-4593-A8EB-D92117ECA1B4}"/>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rcRect/>
          <a:stretch/>
        </p:blipFill>
        <p:spPr>
          <a:xfrm>
            <a:off x="11442114" y="463348"/>
            <a:ext cx="593464" cy="283150"/>
          </a:xfrm>
          <a:prstGeom prst="rect">
            <a:avLst/>
          </a:prstGeom>
        </p:spPr>
      </p:pic>
    </p:spTree>
    <p:extLst>
      <p:ext uri="{BB962C8B-B14F-4D97-AF65-F5344CB8AC3E}">
        <p14:creationId xmlns:p14="http://schemas.microsoft.com/office/powerpoint/2010/main" val="12012408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5" r:id="rId40"/>
    <p:sldLayoutId id="2147483726" r:id="rId41"/>
    <p:sldLayoutId id="2147483727" r:id="rId42"/>
  </p:sldLayoutIdLst>
  <p:txStyles>
    <p:titleStyle>
      <a:lvl1pPr algn="l" defTabSz="914400" rtl="0" eaLnBrk="1" latinLnBrk="0" hangingPunct="1">
        <a:lnSpc>
          <a:spcPct val="90000"/>
        </a:lnSpc>
        <a:spcBef>
          <a:spcPct val="0"/>
        </a:spcBef>
        <a:buNone/>
        <a:defRPr lang="en-GB" sz="4400" b="0" kern="1200" dirty="0" smtClean="0">
          <a:gradFill>
            <a:gsLst>
              <a:gs pos="0">
                <a:schemeClr val="accent1"/>
              </a:gs>
              <a:gs pos="100000">
                <a:schemeClr val="accent2"/>
              </a:gs>
            </a:gsLst>
            <a:lin ang="0" scaled="0"/>
          </a:gradFill>
          <a:latin typeface="+mj-lt"/>
          <a:ea typeface="+mj-ea"/>
          <a:cs typeface="+mj-cs"/>
        </a:defRPr>
      </a:lvl1pPr>
    </p:titleStyle>
    <p:bodyStyle>
      <a:lvl1pPr marL="468000" indent="-468000" algn="l" defTabSz="914400" rtl="0" eaLnBrk="1" latinLnBrk="0" hangingPunct="1">
        <a:lnSpc>
          <a:spcPct val="90000"/>
        </a:lnSpc>
        <a:spcBef>
          <a:spcPts val="1000"/>
        </a:spcBef>
        <a:buClr>
          <a:schemeClr val="accent2"/>
        </a:buClr>
        <a:buFontTx/>
        <a:buBlip>
          <a:blip r:embed="rId52">
            <a:extLst>
              <a:ext uri="{96DAC541-7B7A-43D3-8B79-37D633B846F1}">
                <asvg:svgBlip xmlns:asvg="http://schemas.microsoft.com/office/drawing/2016/SVG/main" r:embed="rId53"/>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52">
            <a:extLst>
              <a:ext uri="{96DAC541-7B7A-43D3-8B79-37D633B846F1}">
                <asvg:svgBlip xmlns:asvg="http://schemas.microsoft.com/office/drawing/2016/SVG/main" r:embed="rId53"/>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52">
            <a:extLst>
              <a:ext uri="{96DAC541-7B7A-43D3-8B79-37D633B846F1}">
                <asvg:svgBlip xmlns:asvg="http://schemas.microsoft.com/office/drawing/2016/SVG/main" r:embed="rId53"/>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52">
            <a:extLst>
              <a:ext uri="{96DAC541-7B7A-43D3-8B79-37D633B846F1}">
                <asvg:svgBlip xmlns:asvg="http://schemas.microsoft.com/office/drawing/2016/SVG/main" r:embed="rId53"/>
              </a:ext>
            </a:extLst>
          </a:blip>
        </a:buBlip>
        <a:defRPr sz="1600" kern="1200">
          <a:solidFill>
            <a:schemeClr val="tx1"/>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52">
            <a:extLst>
              <a:ext uri="{96DAC541-7B7A-43D3-8B79-37D633B846F1}">
                <asvg:svgBlip xmlns:asvg="http://schemas.microsoft.com/office/drawing/2016/SVG/main" r:embed="rId53"/>
              </a:ext>
            </a:extLst>
          </a:blip>
        </a:buBlip>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9.xml"/><Relationship Id="rId5" Type="http://schemas.openxmlformats.org/officeDocument/2006/relationships/hyperlink" Target="https://medium.com/azure-data-lake/connecting-your-own-hadoop-or-spark-to-azure-data-lake-store-93d426d6a5f4" TargetMode="Externa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57.png"/><Relationship Id="rId4" Type="http://schemas.openxmlformats.org/officeDocument/2006/relationships/image" Target="../media/image56.pn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9.xml"/><Relationship Id="rId5" Type="http://schemas.openxmlformats.org/officeDocument/2006/relationships/image" Target="../media/image61.jpeg"/><Relationship Id="rId4" Type="http://schemas.openxmlformats.org/officeDocument/2006/relationships/image" Target="../media/image60.jpeg"/></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jp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2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20.xml"/><Relationship Id="rId5" Type="http://schemas.openxmlformats.org/officeDocument/2006/relationships/image" Target="../media/image69.svg"/><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1.png"/><Relationship Id="rId4" Type="http://schemas.openxmlformats.org/officeDocument/2006/relationships/notesSlide" Target="../notesSlides/notesSlide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75.gif"/><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66.png"/><Relationship Id="rId7" Type="http://schemas.openxmlformats.org/officeDocument/2006/relationships/image" Target="../media/image76.pn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 Id="rId9" Type="http://schemas.openxmlformats.org/officeDocument/2006/relationships/image" Target="../media/image78.png"/></Relationships>
</file>

<file path=ppt/slides/_rels/slide3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82.png"/></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4.mp4"/><Relationship Id="rId1" Type="http://schemas.microsoft.com/office/2007/relationships/media" Target="../media/media4.mp4"/><Relationship Id="rId4" Type="http://schemas.openxmlformats.org/officeDocument/2006/relationships/image" Target="../media/image87.png"/></Relationships>
</file>

<file path=ppt/slides/_rels/slide4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00.png"/><Relationship Id="rId18" Type="http://schemas.openxmlformats.org/officeDocument/2006/relationships/diagramQuickStyle" Target="../diagrams/quickStyle1.xml"/><Relationship Id="rId3" Type="http://schemas.openxmlformats.org/officeDocument/2006/relationships/image" Target="../media/image90.sv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diagramLayout" Target="../diagrams/layout1.xml"/><Relationship Id="rId2" Type="http://schemas.openxmlformats.org/officeDocument/2006/relationships/image" Target="../media/image89.png"/><Relationship Id="rId16" Type="http://schemas.openxmlformats.org/officeDocument/2006/relationships/diagramData" Target="../diagrams/data1.xml"/><Relationship Id="rId20" Type="http://schemas.microsoft.com/office/2007/relationships/diagramDrawing" Target="../diagrams/drawing1.xml"/><Relationship Id="rId1" Type="http://schemas.openxmlformats.org/officeDocument/2006/relationships/slideLayout" Target="../slideLayouts/slideLayout20.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svg"/><Relationship Id="rId15" Type="http://schemas.openxmlformats.org/officeDocument/2006/relationships/image" Target="../media/image102.png"/><Relationship Id="rId10" Type="http://schemas.openxmlformats.org/officeDocument/2006/relationships/image" Target="../media/image97.svg"/><Relationship Id="rId19" Type="http://schemas.openxmlformats.org/officeDocument/2006/relationships/diagramColors" Target="../diagrams/colors1.xml"/><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s>
</file>

<file path=ppt/slides/_rels/slide43.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7.sv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emf"/><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image" Target="../media/image37.emf"/><Relationship Id="rId1" Type="http://schemas.openxmlformats.org/officeDocument/2006/relationships/slideLayout" Target="../slideLayouts/slideLayout20.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4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0.xml"/><Relationship Id="rId6" Type="http://schemas.openxmlformats.org/officeDocument/2006/relationships/image" Target="../media/image118.png"/><Relationship Id="rId5" Type="http://schemas.openxmlformats.org/officeDocument/2006/relationships/hyperlink" Target="https://medium.com/azure-data-lake/connecting-your-own-hadoop-or-spark-to-azure-data-lake-store-93d426d6a5f4" TargetMode="External"/><Relationship Id="rId4" Type="http://schemas.openxmlformats.org/officeDocument/2006/relationships/image" Target="../media/image5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7.xml.rels><?xml version="1.0" encoding="UTF-8" standalone="yes"?>
<Relationships xmlns="http://schemas.openxmlformats.org/package/2006/relationships"><Relationship Id="rId8" Type="http://schemas.openxmlformats.org/officeDocument/2006/relationships/hyperlink" Target="https://www.microsoft.com/en-us/microsoft-fabric/blog/2023/11/15/prepare-your-data-for-ai-innovation-with-microsoft-fabric-now-generally-available/" TargetMode="External"/><Relationship Id="rId3" Type="http://schemas.openxmlformats.org/officeDocument/2006/relationships/hyperlink" Target="https://www.advancinganalytics.co.uk/blog/2023/5/17/what-is-microsoft-fabric" TargetMode="External"/><Relationship Id="rId7" Type="http://schemas.openxmlformats.org/officeDocument/2006/relationships/hyperlink" Target="https://learn.microsoft.com/en-us/fabric/get-started/" TargetMode="External"/><Relationship Id="rId2" Type="http://schemas.openxmlformats.org/officeDocument/2006/relationships/hyperlink" Target="https://learn.microsoft.com/en-gb/training/paths/get-started-fabric/?source=learn" TargetMode="External"/><Relationship Id="rId1" Type="http://schemas.openxmlformats.org/officeDocument/2006/relationships/slideLayout" Target="../slideLayouts/slideLayout19.xml"/><Relationship Id="rId6" Type="http://schemas.openxmlformats.org/officeDocument/2006/relationships/hyperlink" Target="https://blog.fabric.microsoft.com/en-us/blog/" TargetMode="External"/><Relationship Id="rId11" Type="http://schemas.openxmlformats.org/officeDocument/2006/relationships/hyperlink" Target="https://www.mssqltips.com/sql-server-tip-category/274/microsoft-fabric/" TargetMode="External"/><Relationship Id="rId5" Type="http://schemas.openxmlformats.org/officeDocument/2006/relationships/hyperlink" Target="https://www.youtube.com/watch?v=_Y-XyCRE6ec&amp;t=1414s" TargetMode="External"/><Relationship Id="rId10" Type="http://schemas.openxmlformats.org/officeDocument/2006/relationships/hyperlink" Target="https://powerbi.microsoft.com/en-us/blog/empower-power-bi-users-with-microsoft-fabric-and-copilot/" TargetMode="External"/><Relationship Id="rId4" Type="http://schemas.openxmlformats.org/officeDocument/2006/relationships/hyperlink" Target="https://www.youtube.com/watch?v=1o_QDFq6gzE" TargetMode="External"/><Relationship Id="rId9" Type="http://schemas.openxmlformats.org/officeDocument/2006/relationships/hyperlink" Target="https://blog.fabric.microsoft.com/en-us/blog/fabric-workloads-are-now-generally-available/" TargetMode="Externa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D84C2D4-A9B0-9462-48D9-81618A5E29D8}"/>
              </a:ext>
            </a:extLst>
          </p:cNvPr>
          <p:cNvSpPr>
            <a:spLocks noGrp="1"/>
          </p:cNvSpPr>
          <p:nvPr>
            <p:ph type="ctrTitle"/>
          </p:nvPr>
        </p:nvSpPr>
        <p:spPr>
          <a:xfrm>
            <a:off x="841613" y="799151"/>
            <a:ext cx="9838110" cy="1903106"/>
          </a:xfrm>
        </p:spPr>
        <p:txBody>
          <a:bodyPr>
            <a:normAutofit/>
          </a:bodyPr>
          <a:lstStyle/>
          <a:p>
            <a:r>
              <a:rPr lang="en-US" dirty="0"/>
              <a:t>Microsoft Fabric for Dummies</a:t>
            </a:r>
            <a:endParaRPr lang="nl-BE" dirty="0"/>
          </a:p>
        </p:txBody>
      </p:sp>
      <p:sp>
        <p:nvSpPr>
          <p:cNvPr id="8" name="Subtitle 7">
            <a:extLst>
              <a:ext uri="{FF2B5EF4-FFF2-40B4-BE49-F238E27FC236}">
                <a16:creationId xmlns:a16="http://schemas.microsoft.com/office/drawing/2014/main" id="{E47470EA-B5C1-BAB4-F649-B9DC54E64973}"/>
              </a:ext>
            </a:extLst>
          </p:cNvPr>
          <p:cNvSpPr>
            <a:spLocks noGrp="1"/>
          </p:cNvSpPr>
          <p:nvPr>
            <p:ph type="subTitle" idx="1"/>
          </p:nvPr>
        </p:nvSpPr>
        <p:spPr/>
        <p:txBody>
          <a:bodyPr/>
          <a:lstStyle/>
          <a:p>
            <a:r>
              <a:rPr lang="en-US" dirty="0"/>
              <a:t>Koen Verbeeck – He/him</a:t>
            </a:r>
            <a:endParaRPr lang="nl-BE" dirty="0"/>
          </a:p>
        </p:txBody>
      </p:sp>
      <p:pic>
        <p:nvPicPr>
          <p:cNvPr id="6" name="Picture 5" descr="A cartoon of a person pointing&#10;&#10;Description automatically generated">
            <a:extLst>
              <a:ext uri="{FF2B5EF4-FFF2-40B4-BE49-F238E27FC236}">
                <a16:creationId xmlns:a16="http://schemas.microsoft.com/office/drawing/2014/main" id="{63002B25-EE80-03D1-3586-EBE5A5E660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613" y="3813243"/>
            <a:ext cx="2361365" cy="3132306"/>
          </a:xfrm>
          <a:prstGeom prst="rect">
            <a:avLst/>
          </a:prstGeom>
        </p:spPr>
      </p:pic>
    </p:spTree>
    <p:extLst>
      <p:ext uri="{BB962C8B-B14F-4D97-AF65-F5344CB8AC3E}">
        <p14:creationId xmlns:p14="http://schemas.microsoft.com/office/powerpoint/2010/main" val="3677851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storag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957152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it’s all Delta</a:t>
            </a:r>
          </a:p>
          <a:p>
            <a:pPr marL="0" indent="0">
              <a:buNone/>
            </a:pPr>
            <a:r>
              <a:rPr lang="en-US" sz="7200" dirty="0"/>
              <a:t>(Parquet)</a:t>
            </a:r>
            <a:endParaRPr lang="nl-BE" sz="7200" b="1" dirty="0"/>
          </a:p>
        </p:txBody>
      </p:sp>
    </p:spTree>
    <p:extLst>
      <p:ext uri="{BB962C8B-B14F-4D97-AF65-F5344CB8AC3E}">
        <p14:creationId xmlns:p14="http://schemas.microsoft.com/office/powerpoint/2010/main" val="216374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2" end="2"/>
                                            </p:txEl>
                                          </p:spTgt>
                                        </p:tgtEl>
                                        <p:attrNameLst>
                                          <p:attrName>style.visibility</p:attrName>
                                        </p:attrNameLst>
                                      </p:cBhvr>
                                      <p:to>
                                        <p:strVal val="visible"/>
                                      </p:to>
                                    </p:set>
                                    <p:animEffect transition="in" filter="fade">
                                      <p:cBhvr>
                                        <p:cTn id="7"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8">
            <a:extLst>
              <a:ext uri="{FF2B5EF4-FFF2-40B4-BE49-F238E27FC236}">
                <a16:creationId xmlns:a16="http://schemas.microsoft.com/office/drawing/2014/main" id="{5BCCAC85-A169-5C9C-2F8D-E2A4D0E224F0}"/>
              </a:ext>
            </a:extLst>
          </p:cNvPr>
          <p:cNvSpPr/>
          <p:nvPr/>
        </p:nvSpPr>
        <p:spPr bwMode="auto">
          <a:xfrm>
            <a:off x="582614" y="1881607"/>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BF6E282F-67FC-7ED2-4D44-B0AF9033E250}"/>
              </a:ext>
            </a:extLst>
          </p:cNvPr>
          <p:cNvSpPr/>
          <p:nvPr/>
        </p:nvSpPr>
        <p:spPr>
          <a:xfrm>
            <a:off x="780442" y="2572340"/>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TextBox 5">
            <a:extLst>
              <a:ext uri="{FF2B5EF4-FFF2-40B4-BE49-F238E27FC236}">
                <a16:creationId xmlns:a16="http://schemas.microsoft.com/office/drawing/2014/main" id="{6C24007A-9C62-6C76-4AFC-D5214D998128}"/>
              </a:ext>
            </a:extLst>
          </p:cNvPr>
          <p:cNvSpPr txBox="1"/>
          <p:nvPr/>
        </p:nvSpPr>
        <p:spPr>
          <a:xfrm>
            <a:off x="1776380" y="5284259"/>
            <a:ext cx="4315223" cy="307777"/>
          </a:xfrm>
          <a:prstGeom prst="rect">
            <a:avLst/>
          </a:prstGeom>
          <a:noFill/>
        </p:spPr>
        <p:txBody>
          <a:bodyPr wrap="square" lIns="0" tIns="0" rIns="0" bIns="0" rtlCol="0">
            <a:spAutoFit/>
          </a:bodyPr>
          <a:lstStyle/>
          <a:p>
            <a:pPr algn="ctr">
              <a:defRPr/>
            </a:pPr>
            <a:r>
              <a:rPr lang="en-US" sz="2000">
                <a:solidFill>
                  <a:srgbClr val="FFFFFF"/>
                </a:solidFill>
                <a:latin typeface="Segoe UI Semibold"/>
                <a:cs typeface="Segoe UI" panose="020B0502040204020203" pitchFamily="34" charset="0"/>
              </a:rPr>
              <a:t>Intelligent data fabric</a:t>
            </a:r>
          </a:p>
        </p:txBody>
      </p:sp>
      <p:sp>
        <p:nvSpPr>
          <p:cNvPr id="7" name="Rounded Rectangle 45">
            <a:extLst>
              <a:ext uri="{FF2B5EF4-FFF2-40B4-BE49-F238E27FC236}">
                <a16:creationId xmlns:a16="http://schemas.microsoft.com/office/drawing/2014/main" id="{D2112668-28BB-BB38-E5BE-F58081770EFD}"/>
              </a:ext>
            </a:extLst>
          </p:cNvPr>
          <p:cNvSpPr/>
          <p:nvPr/>
        </p:nvSpPr>
        <p:spPr>
          <a:xfrm>
            <a:off x="998538" y="3679056"/>
            <a:ext cx="5870907" cy="1475786"/>
          </a:xfrm>
          <a:prstGeom prst="roundRect">
            <a:avLst>
              <a:gd name="adj" fmla="val 2747"/>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 Storage</a:t>
            </a:r>
          </a:p>
        </p:txBody>
      </p:sp>
      <p:cxnSp>
        <p:nvCxnSpPr>
          <p:cNvPr id="8" name="Straight Connector 7">
            <a:extLst>
              <a:ext uri="{FF2B5EF4-FFF2-40B4-BE49-F238E27FC236}">
                <a16:creationId xmlns:a16="http://schemas.microsoft.com/office/drawing/2014/main" id="{BF111252-01AA-A025-998E-2E63815A2F0A}"/>
              </a:ext>
            </a:extLst>
          </p:cNvPr>
          <p:cNvCxnSpPr>
            <a:cxnSpLocks/>
          </p:cNvCxnSpPr>
          <p:nvPr/>
        </p:nvCxnSpPr>
        <p:spPr>
          <a:xfrm>
            <a:off x="1360561" y="2988323"/>
            <a:ext cx="0" cy="695666"/>
          </a:xfrm>
          <a:prstGeom prst="line">
            <a:avLst/>
          </a:prstGeom>
          <a:noFill/>
          <a:ln w="6350" cap="flat" cmpd="sng" algn="ctr">
            <a:solidFill>
              <a:srgbClr val="FFFFFF"/>
            </a:solidFill>
            <a:prstDash val="solid"/>
            <a:headEnd type="none" w="med" len="med"/>
            <a:tailEnd type="triangle" w="med" len="med"/>
          </a:ln>
          <a:effectLst/>
        </p:spPr>
      </p:cxnSp>
      <p:grpSp>
        <p:nvGrpSpPr>
          <p:cNvPr id="9" name="Group 8">
            <a:extLst>
              <a:ext uri="{FF2B5EF4-FFF2-40B4-BE49-F238E27FC236}">
                <a16:creationId xmlns:a16="http://schemas.microsoft.com/office/drawing/2014/main" id="{AB1D7BFC-AAB3-0A14-E2CA-2681611B80FC}"/>
              </a:ext>
            </a:extLst>
          </p:cNvPr>
          <p:cNvGrpSpPr/>
          <p:nvPr/>
        </p:nvGrpSpPr>
        <p:grpSpPr>
          <a:xfrm>
            <a:off x="7446599" y="2332414"/>
            <a:ext cx="4270586" cy="3129062"/>
            <a:chOff x="7446599" y="2332414"/>
            <a:chExt cx="4270586" cy="3129062"/>
          </a:xfrm>
        </p:grpSpPr>
        <p:sp>
          <p:nvSpPr>
            <p:cNvPr id="10" name="TextBox 9">
              <a:extLst>
                <a:ext uri="{FF2B5EF4-FFF2-40B4-BE49-F238E27FC236}">
                  <a16:creationId xmlns:a16="http://schemas.microsoft.com/office/drawing/2014/main" id="{B2E8B7E9-A388-6C95-6CFA-8D871CD785CA}"/>
                </a:ext>
              </a:extLst>
            </p:cNvPr>
            <p:cNvSpPr txBox="1"/>
            <p:nvPr/>
          </p:nvSpPr>
          <p:spPr>
            <a:xfrm>
              <a:off x="7446599" y="2332414"/>
              <a:ext cx="4270586" cy="3129062"/>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 single SaaS lake for the whole organization</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rovisioned automatically with the tenan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workloads automatically store their data in the </a:t>
              </a:r>
              <a:r>
                <a:rPr kumimoji="0" lang="en-US" sz="1600" b="0" i="0" u="none" strike="noStrike" kern="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OneLake</a:t>
              </a: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workspace folders</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the data is organized in an intuitive hierarchical namespace</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data in </a:t>
              </a:r>
              <a:r>
                <a:rPr kumimoji="0" lang="en-US" sz="1600" b="0" i="0" u="none" strike="noStrike" kern="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OneLake</a:t>
              </a: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is automatically indexed for discovery, MIP labels, lineage, PII scans, sharing, governance and compliance</a:t>
              </a:r>
            </a:p>
          </p:txBody>
        </p:sp>
        <p:cxnSp>
          <p:nvCxnSpPr>
            <p:cNvPr id="11" name="Straight Connector 10">
              <a:extLst>
                <a:ext uri="{FF2B5EF4-FFF2-40B4-BE49-F238E27FC236}">
                  <a16:creationId xmlns:a16="http://schemas.microsoft.com/office/drawing/2014/main" id="{E8025EC2-D7CA-32E2-47DF-954F89F0DC79}"/>
                </a:ext>
              </a:extLst>
            </p:cNvPr>
            <p:cNvCxnSpPr>
              <a:cxnSpLocks/>
            </p:cNvCxnSpPr>
            <p:nvPr/>
          </p:nvCxnSpPr>
          <p:spPr>
            <a:xfrm>
              <a:off x="7492808" y="2764511"/>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E740DBBA-0768-1800-8993-6A001B544F56}"/>
                </a:ext>
              </a:extLst>
            </p:cNvPr>
            <p:cNvCxnSpPr>
              <a:cxnSpLocks/>
            </p:cNvCxnSpPr>
            <p:nvPr/>
          </p:nvCxnSpPr>
          <p:spPr>
            <a:xfrm>
              <a:off x="7492808" y="3184920"/>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2DF0983E-FD6A-268E-3328-83871321B825}"/>
                </a:ext>
              </a:extLst>
            </p:cNvPr>
            <p:cNvCxnSpPr>
              <a:cxnSpLocks/>
            </p:cNvCxnSpPr>
            <p:nvPr/>
          </p:nvCxnSpPr>
          <p:spPr>
            <a:xfrm>
              <a:off x="7492808" y="4545941"/>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AA4B2E49-BF7E-B7DA-91EB-DC336B3BA106}"/>
                </a:ext>
              </a:extLst>
            </p:cNvPr>
            <p:cNvCxnSpPr>
              <a:cxnSpLocks/>
            </p:cNvCxnSpPr>
            <p:nvPr/>
          </p:nvCxnSpPr>
          <p:spPr>
            <a:xfrm>
              <a:off x="7492808" y="3882857"/>
              <a:ext cx="4116577" cy="0"/>
            </a:xfrm>
            <a:prstGeom prst="line">
              <a:avLst/>
            </a:prstGeom>
            <a:noFill/>
            <a:ln w="9525" cap="flat" cmpd="sng" algn="ctr">
              <a:solidFill>
                <a:srgbClr val="FFFFFF">
                  <a:lumMod val="85000"/>
                </a:srgbClr>
              </a:solidFill>
              <a:prstDash val="solid"/>
              <a:headEnd type="none" w="lg" len="med"/>
              <a:tailEnd type="none" w="lg" len="med"/>
            </a:ln>
            <a:effectLst/>
          </p:spPr>
        </p:cxnSp>
      </p:grpSp>
      <p:cxnSp>
        <p:nvCxnSpPr>
          <p:cNvPr id="15" name="Straight Connector 14">
            <a:extLst>
              <a:ext uri="{FF2B5EF4-FFF2-40B4-BE49-F238E27FC236}">
                <a16:creationId xmlns:a16="http://schemas.microsoft.com/office/drawing/2014/main" id="{155BA32F-89FF-BD18-CA2A-33392E0F60BA}"/>
              </a:ext>
            </a:extLst>
          </p:cNvPr>
          <p:cNvCxnSpPr>
            <a:cxnSpLocks/>
          </p:cNvCxnSpPr>
          <p:nvPr/>
        </p:nvCxnSpPr>
        <p:spPr>
          <a:xfrm>
            <a:off x="2389933"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6" name="Straight Connector 15">
            <a:extLst>
              <a:ext uri="{FF2B5EF4-FFF2-40B4-BE49-F238E27FC236}">
                <a16:creationId xmlns:a16="http://schemas.microsoft.com/office/drawing/2014/main" id="{A6F0808F-22B0-42C0-21AE-8FDEC90D5BC6}"/>
              </a:ext>
            </a:extLst>
          </p:cNvPr>
          <p:cNvCxnSpPr>
            <a:cxnSpLocks/>
          </p:cNvCxnSpPr>
          <p:nvPr/>
        </p:nvCxnSpPr>
        <p:spPr>
          <a:xfrm>
            <a:off x="3419305"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7" name="Straight Connector 16">
            <a:extLst>
              <a:ext uri="{FF2B5EF4-FFF2-40B4-BE49-F238E27FC236}">
                <a16:creationId xmlns:a16="http://schemas.microsoft.com/office/drawing/2014/main" id="{4AB94B54-8F86-DF68-C906-C78C0A6340E5}"/>
              </a:ext>
            </a:extLst>
          </p:cNvPr>
          <p:cNvCxnSpPr>
            <a:cxnSpLocks/>
          </p:cNvCxnSpPr>
          <p:nvPr/>
        </p:nvCxnSpPr>
        <p:spPr>
          <a:xfrm>
            <a:off x="4448677"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8" name="Straight Connector 17">
            <a:extLst>
              <a:ext uri="{FF2B5EF4-FFF2-40B4-BE49-F238E27FC236}">
                <a16:creationId xmlns:a16="http://schemas.microsoft.com/office/drawing/2014/main" id="{B405D44B-958A-6D76-A379-CB553844EAA2}"/>
              </a:ext>
            </a:extLst>
          </p:cNvPr>
          <p:cNvCxnSpPr>
            <a:cxnSpLocks/>
          </p:cNvCxnSpPr>
          <p:nvPr/>
        </p:nvCxnSpPr>
        <p:spPr>
          <a:xfrm>
            <a:off x="5478048" y="2988323"/>
            <a:ext cx="0" cy="695666"/>
          </a:xfrm>
          <a:prstGeom prst="line">
            <a:avLst/>
          </a:prstGeom>
          <a:noFill/>
          <a:ln w="6350" cap="flat" cmpd="sng" algn="ctr">
            <a:solidFill>
              <a:srgbClr val="FFFFFF"/>
            </a:solidFill>
            <a:prstDash val="solid"/>
            <a:headEnd type="none" w="med" len="med"/>
            <a:tailEnd type="triangle" w="med" len="med"/>
          </a:ln>
          <a:effectLst/>
        </p:spPr>
      </p:cxnSp>
      <p:cxnSp>
        <p:nvCxnSpPr>
          <p:cNvPr id="19" name="Straight Connector 18">
            <a:extLst>
              <a:ext uri="{FF2B5EF4-FFF2-40B4-BE49-F238E27FC236}">
                <a16:creationId xmlns:a16="http://schemas.microsoft.com/office/drawing/2014/main" id="{3F11F951-CED4-6C22-0968-FDED7AD119B7}"/>
              </a:ext>
            </a:extLst>
          </p:cNvPr>
          <p:cNvCxnSpPr>
            <a:cxnSpLocks/>
          </p:cNvCxnSpPr>
          <p:nvPr/>
        </p:nvCxnSpPr>
        <p:spPr>
          <a:xfrm>
            <a:off x="6507420" y="2988323"/>
            <a:ext cx="0" cy="695666"/>
          </a:xfrm>
          <a:prstGeom prst="line">
            <a:avLst/>
          </a:prstGeom>
          <a:noFill/>
          <a:ln w="6350" cap="flat" cmpd="sng" algn="ctr">
            <a:solidFill>
              <a:srgbClr val="FFFFFF"/>
            </a:solidFill>
            <a:prstDash val="solid"/>
            <a:headEnd type="none" w="med" len="med"/>
            <a:tailEnd type="triangle" w="med" len="med"/>
          </a:ln>
          <a:effectLst/>
        </p:spPr>
      </p:cxnSp>
      <p:sp>
        <p:nvSpPr>
          <p:cNvPr id="20" name="Rounded Rectangle 17">
            <a:extLst>
              <a:ext uri="{FF2B5EF4-FFF2-40B4-BE49-F238E27FC236}">
                <a16:creationId xmlns:a16="http://schemas.microsoft.com/office/drawing/2014/main" id="{7ABABCA7-1ADE-EEE3-217B-5AD65400721C}"/>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21" name="Rounded Rectangle 22">
            <a:extLst>
              <a:ext uri="{FF2B5EF4-FFF2-40B4-BE49-F238E27FC236}">
                <a16:creationId xmlns:a16="http://schemas.microsoft.com/office/drawing/2014/main" id="{851A5B2A-9223-587A-C0FD-95BD27182C5A}"/>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
        <p:nvSpPr>
          <p:cNvPr id="22" name="Rounded Rectangle 13">
            <a:extLst>
              <a:ext uri="{FF2B5EF4-FFF2-40B4-BE49-F238E27FC236}">
                <a16:creationId xmlns:a16="http://schemas.microsoft.com/office/drawing/2014/main" id="{48BB3305-5EB6-DF62-E514-A0FB87FB8AF5}"/>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23" name="Rounded Rectangle 15">
            <a:extLst>
              <a:ext uri="{FF2B5EF4-FFF2-40B4-BE49-F238E27FC236}">
                <a16:creationId xmlns:a16="http://schemas.microsoft.com/office/drawing/2014/main" id="{5BDD9553-C6C1-C9A8-DC4C-EBC8FC44AE83}"/>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24" name="Rounded Rectangle 16">
            <a:extLst>
              <a:ext uri="{FF2B5EF4-FFF2-40B4-BE49-F238E27FC236}">
                <a16:creationId xmlns:a16="http://schemas.microsoft.com/office/drawing/2014/main" id="{D363E2E8-3017-4C64-1346-AF04C497992B}"/>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25" name="Rounded Rectangle 20">
            <a:extLst>
              <a:ext uri="{FF2B5EF4-FFF2-40B4-BE49-F238E27FC236}">
                <a16:creationId xmlns:a16="http://schemas.microsoft.com/office/drawing/2014/main" id="{F1A7A437-99BF-3C42-2BCF-E83C4A354119}"/>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26" name="Title 13">
            <a:extLst>
              <a:ext uri="{FF2B5EF4-FFF2-40B4-BE49-F238E27FC236}">
                <a16:creationId xmlns:a16="http://schemas.microsoft.com/office/drawing/2014/main" id="{3237F6AC-5221-3549-2575-2FD64D135AB5}"/>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err="1">
                <a:ln w="3175">
                  <a:noFill/>
                </a:ln>
                <a:solidFill>
                  <a:srgbClr val="117865"/>
                </a:solidFill>
                <a:effectLst/>
                <a:uLnTx/>
                <a:uFillTx/>
                <a:latin typeface="Segoe UI Semibold"/>
                <a:ea typeface="+mn-ea"/>
                <a:cs typeface="Segoe UI" pitchFamily="34" charset="0"/>
              </a:rPr>
              <a:t>OneLake</a:t>
            </a: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 for all Data</a:t>
            </a:r>
          </a:p>
        </p:txBody>
      </p:sp>
      <p:sp>
        <p:nvSpPr>
          <p:cNvPr id="27" name="Text Placeholder 21">
            <a:extLst>
              <a:ext uri="{FF2B5EF4-FFF2-40B4-BE49-F238E27FC236}">
                <a16:creationId xmlns:a16="http://schemas.microsoft.com/office/drawing/2014/main" id="{1F101536-95D5-B7CA-B592-A124FE3DF05B}"/>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OneDrive for Data”</a:t>
            </a:r>
          </a:p>
        </p:txBody>
      </p:sp>
    </p:spTree>
    <p:extLst>
      <p:ext uri="{BB962C8B-B14F-4D97-AF65-F5344CB8AC3E}">
        <p14:creationId xmlns:p14="http://schemas.microsoft.com/office/powerpoint/2010/main" val="96455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62">
            <a:extLst>
              <a:ext uri="{FF2B5EF4-FFF2-40B4-BE49-F238E27FC236}">
                <a16:creationId xmlns:a16="http://schemas.microsoft.com/office/drawing/2014/main" id="{E4E0E25E-1A0C-7D2F-E1E3-BB2366CD0399}"/>
              </a:ext>
            </a:extLst>
          </p:cNvPr>
          <p:cNvSpPr/>
          <p:nvPr/>
        </p:nvSpPr>
        <p:spPr bwMode="auto">
          <a:xfrm>
            <a:off x="582614" y="1881188"/>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73B2F38C-3E1E-08D5-3E25-B6F272637F7A}"/>
              </a:ext>
            </a:extLst>
          </p:cNvPr>
          <p:cNvSpPr/>
          <p:nvPr/>
        </p:nvSpPr>
        <p:spPr>
          <a:xfrm>
            <a:off x="780442" y="2571921"/>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Rounded Rectangle 45">
            <a:extLst>
              <a:ext uri="{FF2B5EF4-FFF2-40B4-BE49-F238E27FC236}">
                <a16:creationId xmlns:a16="http://schemas.microsoft.com/office/drawing/2014/main" id="{3288653B-3546-2450-E803-885F1D51E118}"/>
              </a:ext>
            </a:extLst>
          </p:cNvPr>
          <p:cNvSpPr/>
          <p:nvPr/>
        </p:nvSpPr>
        <p:spPr>
          <a:xfrm>
            <a:off x="998538" y="4350409"/>
            <a:ext cx="5870907" cy="1213654"/>
          </a:xfrm>
          <a:prstGeom prst="roundRect">
            <a:avLst>
              <a:gd name="adj" fmla="val 3792"/>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7" name="Rounded Rectangle 45">
            <a:extLst>
              <a:ext uri="{FF2B5EF4-FFF2-40B4-BE49-F238E27FC236}">
                <a16:creationId xmlns:a16="http://schemas.microsoft.com/office/drawing/2014/main" id="{39D3B4A4-5092-A72F-948A-0BF821F2AA2B}"/>
              </a:ext>
            </a:extLst>
          </p:cNvPr>
          <p:cNvSpPr/>
          <p:nvPr/>
        </p:nvSpPr>
        <p:spPr>
          <a:xfrm>
            <a:off x="998538" y="3394896"/>
            <a:ext cx="5870907" cy="831968"/>
          </a:xfrm>
          <a:prstGeom prst="roundRect">
            <a:avLst>
              <a:gd name="adj" fmla="val 5340"/>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erverle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mpute</a:t>
            </a:r>
          </a:p>
        </p:txBody>
      </p:sp>
      <p:sp>
        <p:nvSpPr>
          <p:cNvPr id="8" name="Title 13">
            <a:extLst>
              <a:ext uri="{FF2B5EF4-FFF2-40B4-BE49-F238E27FC236}">
                <a16:creationId xmlns:a16="http://schemas.microsoft.com/office/drawing/2014/main" id="{9DD47693-562D-D815-76EE-0ACBFC90E03D}"/>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One Copy for all computes</a:t>
            </a:r>
          </a:p>
        </p:txBody>
      </p:sp>
      <p:sp>
        <p:nvSpPr>
          <p:cNvPr id="9" name="Text Placeholder 9">
            <a:extLst>
              <a:ext uri="{FF2B5EF4-FFF2-40B4-BE49-F238E27FC236}">
                <a16:creationId xmlns:a16="http://schemas.microsoft.com/office/drawing/2014/main" id="{73A72225-646F-CDFE-8019-76480FE431DB}"/>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al separation of compute and storage</a:t>
            </a:r>
          </a:p>
        </p:txBody>
      </p:sp>
      <p:grpSp>
        <p:nvGrpSpPr>
          <p:cNvPr id="10" name="Group 9">
            <a:extLst>
              <a:ext uri="{FF2B5EF4-FFF2-40B4-BE49-F238E27FC236}">
                <a16:creationId xmlns:a16="http://schemas.microsoft.com/office/drawing/2014/main" id="{BA05B11A-79AA-D79D-DCBC-BAE8659B0D22}"/>
              </a:ext>
            </a:extLst>
          </p:cNvPr>
          <p:cNvGrpSpPr/>
          <p:nvPr/>
        </p:nvGrpSpPr>
        <p:grpSpPr>
          <a:xfrm>
            <a:off x="7446599" y="2121681"/>
            <a:ext cx="4291232" cy="3703578"/>
            <a:chOff x="7446599" y="2209843"/>
            <a:chExt cx="4291232" cy="3703578"/>
          </a:xfrm>
        </p:grpSpPr>
        <p:sp>
          <p:nvSpPr>
            <p:cNvPr id="11" name="TextBox 10">
              <a:extLst>
                <a:ext uri="{FF2B5EF4-FFF2-40B4-BE49-F238E27FC236}">
                  <a16:creationId xmlns:a16="http://schemas.microsoft.com/office/drawing/2014/main" id="{1318D7CD-5E70-53CE-A2F3-B92BB34E9E89}"/>
                </a:ext>
              </a:extLst>
            </p:cNvPr>
            <p:cNvSpPr txBox="1"/>
            <p:nvPr/>
          </p:nvSpPr>
          <p:spPr>
            <a:xfrm>
              <a:off x="7446599" y="2209843"/>
              <a:ext cx="4291232" cy="3703578"/>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the compute engines store their data automatically in </a:t>
              </a:r>
              <a:r>
                <a:rPr kumimoji="0" lang="en-US" sz="1400" b="0" i="0" u="none" strike="noStrike" kern="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OneLake</a:t>
              </a:r>
              <a:endPar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data is stored in a single common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Delta – Parquet</a:t>
              </a:r>
              <a:r>
                <a:rPr kumimoji="0" lang="en-US" sz="1400" b="0" i="0" u="none" strike="noStrike" kern="0" cap="none" spc="0" normalizeH="0" baseline="0" noProof="0" dirty="0">
                  <a:ln>
                    <a:noFill/>
                  </a:ln>
                  <a:solidFill>
                    <a:srgbClr val="000000"/>
                  </a:solidFill>
                  <a:effectLst/>
                  <a:uLnTx/>
                  <a:uFillTx/>
                  <a:latin typeface="Segoe UI"/>
                  <a:cs typeface="Segoe UI" panose="020B0502040204020203" pitchFamily="34" charset="0"/>
                </a:rPr>
                <a:t>,</a:t>
              </a:r>
              <a:r>
                <a:rPr kumimoji="0" lang="en-US" sz="1400" b="0" i="0" u="none" strike="noStrike" kern="0" cap="none" spc="0" normalizeH="0" baseline="0" noProof="0" dirty="0">
                  <a:ln>
                    <a:noFill/>
                  </a:ln>
                  <a:solidFill>
                    <a:srgbClr val="000000"/>
                  </a:solidFill>
                  <a:effectLst/>
                  <a:uLnTx/>
                  <a:uFillTx/>
                  <a:latin typeface="Segoe UI Semibold"/>
                  <a:cs typeface="Segoe UI" panose="020B0502040204020203" pitchFamily="34" charset="0"/>
                </a:rPr>
                <a:t> </a:t>
              </a: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n open standards format, is the storage format for all tabular data in </a:t>
              </a:r>
              <a:r>
                <a:rPr lang="en-US" sz="1400" kern="0" dirty="0">
                  <a:solidFill>
                    <a:srgbClr val="000000"/>
                  </a:solidFill>
                </a:rPr>
                <a:t>Fabric</a:t>
              </a:r>
              <a:endPar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Once data is stored in the lake, it is directly accessible by all the engines without needing any import/expor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ll the compute engines have been fully optimized to work with Delta Parquet as their native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hared universal security model is enforced across all the engines</a:t>
              </a:r>
              <a:endParaRPr kumimoji="0" lang="en-US" sz="1400" b="1" i="0" u="none" strike="noStrike" kern="0" cap="none" spc="0" normalizeH="0" baseline="0" noProof="0" dirty="0">
                <a:ln>
                  <a:noFill/>
                </a:ln>
                <a:solidFill>
                  <a:srgbClr val="000000"/>
                </a:solidFill>
                <a:effectLst/>
                <a:uLnTx/>
                <a:uFillTx/>
                <a:latin typeface="Segoe UI Semibold" panose="020B0502040204020203" pitchFamily="34" charset="0"/>
                <a:cs typeface="Segoe UI Semibold" panose="020B0502040204020203" pitchFamily="34" charset="0"/>
              </a:endParaRPr>
            </a:p>
          </p:txBody>
        </p:sp>
        <p:cxnSp>
          <p:nvCxnSpPr>
            <p:cNvPr id="12" name="Straight Connector 11">
              <a:extLst>
                <a:ext uri="{FF2B5EF4-FFF2-40B4-BE49-F238E27FC236}">
                  <a16:creationId xmlns:a16="http://schemas.microsoft.com/office/drawing/2014/main" id="{EEEF330B-BB09-901F-2293-C2FC65FFED21}"/>
                </a:ext>
              </a:extLst>
            </p:cNvPr>
            <p:cNvCxnSpPr>
              <a:cxnSpLocks/>
            </p:cNvCxnSpPr>
            <p:nvPr/>
          </p:nvCxnSpPr>
          <p:spPr>
            <a:xfrm>
              <a:off x="7492808" y="5313048"/>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7308B3B8-0902-FCE2-8257-C4168B494025}"/>
                </a:ext>
              </a:extLst>
            </p:cNvPr>
            <p:cNvCxnSpPr>
              <a:cxnSpLocks/>
            </p:cNvCxnSpPr>
            <p:nvPr/>
          </p:nvCxnSpPr>
          <p:spPr>
            <a:xfrm>
              <a:off x="7492808" y="2782993"/>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F6D095C0-7A80-C5CF-5E14-4D5539AE9A06}"/>
                </a:ext>
              </a:extLst>
            </p:cNvPr>
            <p:cNvCxnSpPr>
              <a:cxnSpLocks/>
            </p:cNvCxnSpPr>
            <p:nvPr/>
          </p:nvCxnSpPr>
          <p:spPr>
            <a:xfrm>
              <a:off x="7492808" y="4671806"/>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372D0613-F7A9-2A5B-9B88-772E1723C274}"/>
                </a:ext>
              </a:extLst>
            </p:cNvPr>
            <p:cNvCxnSpPr>
              <a:cxnSpLocks/>
            </p:cNvCxnSpPr>
            <p:nvPr/>
          </p:nvCxnSpPr>
          <p:spPr>
            <a:xfrm>
              <a:off x="7492808" y="3839862"/>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6" name="Straight Connector 15">
              <a:extLst>
                <a:ext uri="{FF2B5EF4-FFF2-40B4-BE49-F238E27FC236}">
                  <a16:creationId xmlns:a16="http://schemas.microsoft.com/office/drawing/2014/main" id="{B4DF2B91-3FBF-50E7-147B-B831815393EA}"/>
                </a:ext>
              </a:extLst>
            </p:cNvPr>
            <p:cNvCxnSpPr>
              <a:cxnSpLocks/>
            </p:cNvCxnSpPr>
            <p:nvPr/>
          </p:nvCxnSpPr>
          <p:spPr>
            <a:xfrm>
              <a:off x="7492808" y="3188322"/>
              <a:ext cx="4116577" cy="0"/>
            </a:xfrm>
            <a:prstGeom prst="line">
              <a:avLst/>
            </a:prstGeom>
            <a:noFill/>
            <a:ln w="9525" cap="flat" cmpd="sng" algn="ctr">
              <a:solidFill>
                <a:srgbClr val="FFFFFF">
                  <a:lumMod val="85000"/>
                </a:srgbClr>
              </a:solidFill>
              <a:prstDash val="solid"/>
              <a:headEnd type="none" w="lg" len="med"/>
              <a:tailEnd type="none" w="lg" len="med"/>
            </a:ln>
            <a:effectLst/>
          </p:spPr>
        </p:cxnSp>
      </p:grpSp>
      <p:sp>
        <p:nvSpPr>
          <p:cNvPr id="17" name="Cylinder 16">
            <a:extLst>
              <a:ext uri="{FF2B5EF4-FFF2-40B4-BE49-F238E27FC236}">
                <a16:creationId xmlns:a16="http://schemas.microsoft.com/office/drawing/2014/main" id="{D69C1FAA-CEC0-0602-7AAA-0CC283FF7ABD}"/>
              </a:ext>
            </a:extLst>
          </p:cNvPr>
          <p:cNvSpPr/>
          <p:nvPr/>
        </p:nvSpPr>
        <p:spPr bwMode="auto">
          <a:xfrm>
            <a:off x="121499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18" name="Cylinder 17">
            <a:extLst>
              <a:ext uri="{FF2B5EF4-FFF2-40B4-BE49-F238E27FC236}">
                <a16:creationId xmlns:a16="http://schemas.microsoft.com/office/drawing/2014/main" id="{D7B3DFDA-AEEC-92E8-84A5-D4DA514FBD7B}"/>
              </a:ext>
            </a:extLst>
          </p:cNvPr>
          <p:cNvSpPr/>
          <p:nvPr/>
        </p:nvSpPr>
        <p:spPr bwMode="auto">
          <a:xfrm>
            <a:off x="202247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19" name="Cylinder 18">
            <a:extLst>
              <a:ext uri="{FF2B5EF4-FFF2-40B4-BE49-F238E27FC236}">
                <a16:creationId xmlns:a16="http://schemas.microsoft.com/office/drawing/2014/main" id="{474646ED-5811-12C6-9B0A-5747394BB936}"/>
              </a:ext>
            </a:extLst>
          </p:cNvPr>
          <p:cNvSpPr/>
          <p:nvPr/>
        </p:nvSpPr>
        <p:spPr bwMode="auto">
          <a:xfrm>
            <a:off x="5107454"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20" name="Cylinder 19">
            <a:extLst>
              <a:ext uri="{FF2B5EF4-FFF2-40B4-BE49-F238E27FC236}">
                <a16:creationId xmlns:a16="http://schemas.microsoft.com/office/drawing/2014/main" id="{9962D3D1-96E7-EC8F-0AD2-D48D267AF2CE}"/>
              </a:ext>
            </a:extLst>
          </p:cNvPr>
          <p:cNvSpPr/>
          <p:nvPr/>
        </p:nvSpPr>
        <p:spPr bwMode="auto">
          <a:xfrm>
            <a:off x="5924899"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grpSp>
        <p:nvGrpSpPr>
          <p:cNvPr id="21" name="Group 20">
            <a:extLst>
              <a:ext uri="{FF2B5EF4-FFF2-40B4-BE49-F238E27FC236}">
                <a16:creationId xmlns:a16="http://schemas.microsoft.com/office/drawing/2014/main" id="{728EA49E-FA30-B02B-1390-F35AA8683215}"/>
              </a:ext>
            </a:extLst>
          </p:cNvPr>
          <p:cNvGrpSpPr/>
          <p:nvPr/>
        </p:nvGrpSpPr>
        <p:grpSpPr>
          <a:xfrm>
            <a:off x="2203017" y="2970592"/>
            <a:ext cx="1521765" cy="1540718"/>
            <a:chOff x="2203017" y="2970592"/>
            <a:chExt cx="1521765" cy="1540718"/>
          </a:xfrm>
        </p:grpSpPr>
        <p:grpSp>
          <p:nvGrpSpPr>
            <p:cNvPr id="22" name="Group 21">
              <a:extLst>
                <a:ext uri="{FF2B5EF4-FFF2-40B4-BE49-F238E27FC236}">
                  <a16:creationId xmlns:a16="http://schemas.microsoft.com/office/drawing/2014/main" id="{7093A5DA-246B-D249-6B94-F66DF1539C3B}"/>
                </a:ext>
              </a:extLst>
            </p:cNvPr>
            <p:cNvGrpSpPr/>
            <p:nvPr/>
          </p:nvGrpSpPr>
          <p:grpSpPr>
            <a:xfrm flipH="1">
              <a:off x="2203017" y="2970592"/>
              <a:ext cx="1521765" cy="538755"/>
              <a:chOff x="1425994" y="2970592"/>
              <a:chExt cx="196539" cy="538755"/>
            </a:xfrm>
          </p:grpSpPr>
          <p:sp>
            <p:nvSpPr>
              <p:cNvPr id="25" name="!!Line2">
                <a:extLst>
                  <a:ext uri="{FF2B5EF4-FFF2-40B4-BE49-F238E27FC236}">
                    <a16:creationId xmlns:a16="http://schemas.microsoft.com/office/drawing/2014/main" id="{660788F1-1768-F86E-B05E-3CC0DFC7DD6D}"/>
                  </a:ext>
                </a:extLst>
              </p:cNvPr>
              <p:cNvSpPr/>
              <p:nvPr/>
            </p:nvSpPr>
            <p:spPr bwMode="auto">
              <a:xfrm rot="10800000">
                <a:off x="1425994" y="3240440"/>
                <a:ext cx="167618" cy="268907"/>
              </a:xfrm>
              <a:prstGeom prst="roundRect">
                <a:avLst>
                  <a:gd name="adj" fmla="val 8336"/>
                </a:avLst>
              </a:prstGeom>
              <a:noFill/>
              <a:ln w="6350" cap="flat" cmpd="sng" algn="ctr">
                <a:gradFill flip="none" rotWithShape="1">
                  <a:gsLst>
                    <a:gs pos="35000">
                      <a:srgbClr val="FFFFFF"/>
                    </a:gs>
                    <a:gs pos="0">
                      <a:srgbClr val="FFFFFF"/>
                    </a:gs>
                    <a:gs pos="100000">
                      <a:srgbClr val="FFFFFF">
                        <a:alpha val="0"/>
                      </a:srgbClr>
                    </a:gs>
                    <a:gs pos="37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Line2">
                <a:extLst>
                  <a:ext uri="{FF2B5EF4-FFF2-40B4-BE49-F238E27FC236}">
                    <a16:creationId xmlns:a16="http://schemas.microsoft.com/office/drawing/2014/main" id="{A87B599F-7A39-5F14-8367-4F40649C304C}"/>
                  </a:ext>
                </a:extLst>
              </p:cNvPr>
              <p:cNvSpPr/>
              <p:nvPr/>
            </p:nvSpPr>
            <p:spPr bwMode="auto">
              <a:xfrm>
                <a:off x="1466099" y="2970592"/>
                <a:ext cx="156434" cy="268907"/>
              </a:xfrm>
              <a:prstGeom prst="roundRect">
                <a:avLst>
                  <a:gd name="adj" fmla="val 8336"/>
                </a:avLst>
              </a:prstGeom>
              <a:noFill/>
              <a:ln w="6350" cap="flat" cmpd="sng" algn="ctr">
                <a:gradFill flip="none" rotWithShape="1">
                  <a:gsLst>
                    <a:gs pos="23000">
                      <a:srgbClr val="FFFFFF"/>
                    </a:gs>
                    <a:gs pos="0">
                      <a:srgbClr val="FFFFFF"/>
                    </a:gs>
                    <a:gs pos="100000">
                      <a:srgbClr val="FFFFFF">
                        <a:alpha val="0"/>
                      </a:srgbClr>
                    </a:gs>
                    <a:gs pos="43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78109AB0-58DF-EBBC-F65D-FD2649AEDE7B}"/>
                  </a:ext>
                </a:extLst>
              </p:cNvPr>
              <p:cNvCxnSpPr>
                <a:cxnSpLocks/>
              </p:cNvCxnSpPr>
              <p:nvPr/>
            </p:nvCxnSpPr>
            <p:spPr>
              <a:xfrm>
                <a:off x="1593612" y="3311187"/>
                <a:ext cx="0" cy="193281"/>
              </a:xfrm>
              <a:prstGeom prst="line">
                <a:avLst/>
              </a:prstGeom>
              <a:noFill/>
              <a:ln w="6350" cap="flat" cmpd="sng" algn="ctr">
                <a:solidFill>
                  <a:srgbClr val="FFFFFF"/>
                </a:solidFill>
                <a:prstDash val="solid"/>
                <a:headEnd type="none" w="lg" len="med"/>
                <a:tailEnd type="none" w="lg" len="med"/>
              </a:ln>
              <a:effectLst/>
            </p:spPr>
          </p:cxnSp>
        </p:grpSp>
        <p:cxnSp>
          <p:nvCxnSpPr>
            <p:cNvPr id="23" name="Straight Connector 22">
              <a:extLst>
                <a:ext uri="{FF2B5EF4-FFF2-40B4-BE49-F238E27FC236}">
                  <a16:creationId xmlns:a16="http://schemas.microsoft.com/office/drawing/2014/main" id="{4F1FA949-BD1D-2D5C-5C94-F3E192012642}"/>
                </a:ext>
              </a:extLst>
            </p:cNvPr>
            <p:cNvCxnSpPr>
              <a:cxnSpLocks/>
            </p:cNvCxnSpPr>
            <p:nvPr/>
          </p:nvCxnSpPr>
          <p:spPr>
            <a:xfrm>
              <a:off x="2389933" y="2994592"/>
              <a:ext cx="0" cy="509876"/>
            </a:xfrm>
            <a:prstGeom prst="line">
              <a:avLst/>
            </a:prstGeom>
            <a:noFill/>
            <a:ln w="6350" cap="flat" cmpd="sng" algn="ctr">
              <a:gradFill>
                <a:gsLst>
                  <a:gs pos="33000">
                    <a:srgbClr val="FFFFFF"/>
                  </a:gs>
                  <a:gs pos="0">
                    <a:srgbClr val="FFFFFF">
                      <a:alpha val="0"/>
                    </a:srgbClr>
                  </a:gs>
                </a:gsLst>
                <a:lin ang="5400000" scaled="1"/>
              </a:gradFill>
              <a:prstDash val="solid"/>
              <a:headEnd type="none" w="lg" len="med"/>
              <a:tailEnd type="none" w="lg" len="med"/>
            </a:ln>
            <a:effectLst/>
          </p:spPr>
        </p:cxnSp>
        <p:cxnSp>
          <p:nvCxnSpPr>
            <p:cNvPr id="24" name="Straight Connector 23">
              <a:extLst>
                <a:ext uri="{FF2B5EF4-FFF2-40B4-BE49-F238E27FC236}">
                  <a16:creationId xmlns:a16="http://schemas.microsoft.com/office/drawing/2014/main" id="{8E4D12C5-A03B-44CB-FE24-77F60FCCD1D5}"/>
                </a:ext>
              </a:extLst>
            </p:cNvPr>
            <p:cNvCxnSpPr>
              <a:cxnSpLocks/>
              <a:endCxn id="18" idx="1"/>
            </p:cNvCxnSpPr>
            <p:nvPr/>
          </p:nvCxnSpPr>
          <p:spPr>
            <a:xfrm>
              <a:off x="2389933" y="4034676"/>
              <a:ext cx="0" cy="476634"/>
            </a:xfrm>
            <a:prstGeom prst="line">
              <a:avLst/>
            </a:prstGeom>
            <a:noFill/>
            <a:ln w="6350" cap="flat" cmpd="sng" algn="ctr">
              <a:solidFill>
                <a:srgbClr val="FFFFFF"/>
              </a:solidFill>
              <a:prstDash val="solid"/>
              <a:headEnd type="none" w="lg" len="med"/>
              <a:tailEnd type="triangle" w="med" len="med"/>
            </a:ln>
            <a:effectLst/>
          </p:spPr>
        </p:cxnSp>
      </p:grpSp>
      <p:grpSp>
        <p:nvGrpSpPr>
          <p:cNvPr id="28" name="Group 27">
            <a:extLst>
              <a:ext uri="{FF2B5EF4-FFF2-40B4-BE49-F238E27FC236}">
                <a16:creationId xmlns:a16="http://schemas.microsoft.com/office/drawing/2014/main" id="{4B89B345-D6CE-40CA-CE0C-809EB61B8C10}"/>
              </a:ext>
            </a:extLst>
          </p:cNvPr>
          <p:cNvGrpSpPr/>
          <p:nvPr/>
        </p:nvGrpSpPr>
        <p:grpSpPr>
          <a:xfrm>
            <a:off x="1332001" y="2970592"/>
            <a:ext cx="290532" cy="1540718"/>
            <a:chOff x="1332001" y="2970592"/>
            <a:chExt cx="290532" cy="1540718"/>
          </a:xfrm>
        </p:grpSpPr>
        <p:grpSp>
          <p:nvGrpSpPr>
            <p:cNvPr id="29" name="Group 28">
              <a:extLst>
                <a:ext uri="{FF2B5EF4-FFF2-40B4-BE49-F238E27FC236}">
                  <a16:creationId xmlns:a16="http://schemas.microsoft.com/office/drawing/2014/main" id="{4B068E6D-C8C8-5807-227E-7E413EAD7F1F}"/>
                </a:ext>
              </a:extLst>
            </p:cNvPr>
            <p:cNvGrpSpPr/>
            <p:nvPr/>
          </p:nvGrpSpPr>
          <p:grpSpPr>
            <a:xfrm>
              <a:off x="1332001" y="2970592"/>
              <a:ext cx="290532" cy="538756"/>
              <a:chOff x="1332001" y="2970592"/>
              <a:chExt cx="290532" cy="538756"/>
            </a:xfrm>
          </p:grpSpPr>
          <p:sp>
            <p:nvSpPr>
              <p:cNvPr id="31" name="!!Line2">
                <a:extLst>
                  <a:ext uri="{FF2B5EF4-FFF2-40B4-BE49-F238E27FC236}">
                    <a16:creationId xmlns:a16="http://schemas.microsoft.com/office/drawing/2014/main" id="{FC7878C3-ED0F-1B69-F398-18E69AD2B980}"/>
                  </a:ext>
                </a:extLst>
              </p:cNvPr>
              <p:cNvSpPr/>
              <p:nvPr/>
            </p:nvSpPr>
            <p:spPr bwMode="auto">
              <a:xfrm rot="10800000">
                <a:off x="1332001" y="3240441"/>
                <a:ext cx="261611" cy="268907"/>
              </a:xfrm>
              <a:prstGeom prst="roundRect">
                <a:avLst>
                  <a:gd name="adj" fmla="val 8336"/>
                </a:avLst>
              </a:prstGeom>
              <a:noFill/>
              <a:ln w="6350" cap="flat" cmpd="sng" algn="ctr">
                <a:gradFill flip="none" rotWithShape="1">
                  <a:gsLst>
                    <a:gs pos="35000">
                      <a:srgbClr val="FFFFFF"/>
                    </a:gs>
                    <a:gs pos="0">
                      <a:srgbClr val="FFFFFF"/>
                    </a:gs>
                    <a:gs pos="100000">
                      <a:srgbClr val="FFFFFF">
                        <a:alpha val="0"/>
                      </a:srgbClr>
                    </a:gs>
                    <a:gs pos="37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Line2">
                <a:extLst>
                  <a:ext uri="{FF2B5EF4-FFF2-40B4-BE49-F238E27FC236}">
                    <a16:creationId xmlns:a16="http://schemas.microsoft.com/office/drawing/2014/main" id="{FC08555B-AC74-9022-0001-759F456DAFCF}"/>
                  </a:ext>
                </a:extLst>
              </p:cNvPr>
              <p:cNvSpPr/>
              <p:nvPr/>
            </p:nvSpPr>
            <p:spPr bwMode="auto">
              <a:xfrm>
                <a:off x="1360922" y="2970592"/>
                <a:ext cx="261611" cy="268907"/>
              </a:xfrm>
              <a:prstGeom prst="roundRect">
                <a:avLst>
                  <a:gd name="adj" fmla="val 8336"/>
                </a:avLst>
              </a:prstGeom>
              <a:noFill/>
              <a:ln w="6350" cap="flat" cmpd="sng" algn="ctr">
                <a:gradFill flip="none" rotWithShape="1">
                  <a:gsLst>
                    <a:gs pos="23000">
                      <a:srgbClr val="FFFFFF"/>
                    </a:gs>
                    <a:gs pos="0">
                      <a:srgbClr val="FFFFFF"/>
                    </a:gs>
                    <a:gs pos="100000">
                      <a:srgbClr val="FFFFFF">
                        <a:alpha val="0"/>
                      </a:srgbClr>
                    </a:gs>
                    <a:gs pos="43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4FB14643-95E6-7B48-AE27-B01195B51A28}"/>
                  </a:ext>
                </a:extLst>
              </p:cNvPr>
              <p:cNvCxnSpPr>
                <a:cxnSpLocks/>
              </p:cNvCxnSpPr>
              <p:nvPr/>
            </p:nvCxnSpPr>
            <p:spPr>
              <a:xfrm>
                <a:off x="1593612" y="3311187"/>
                <a:ext cx="0" cy="193281"/>
              </a:xfrm>
              <a:prstGeom prst="line">
                <a:avLst/>
              </a:prstGeom>
              <a:noFill/>
              <a:ln w="6350" cap="flat" cmpd="sng" algn="ctr">
                <a:solidFill>
                  <a:srgbClr val="FFFFFF"/>
                </a:solidFill>
                <a:prstDash val="solid"/>
                <a:headEnd type="none" w="lg" len="med"/>
                <a:tailEnd type="none" w="lg" len="med"/>
              </a:ln>
              <a:effectLst/>
            </p:spPr>
          </p:cxnSp>
        </p:grpSp>
        <p:cxnSp>
          <p:nvCxnSpPr>
            <p:cNvPr id="30" name="Straight Connector 29">
              <a:extLst>
                <a:ext uri="{FF2B5EF4-FFF2-40B4-BE49-F238E27FC236}">
                  <a16:creationId xmlns:a16="http://schemas.microsoft.com/office/drawing/2014/main" id="{F7A199C4-793D-8350-197C-E48D7AB108F5}"/>
                </a:ext>
              </a:extLst>
            </p:cNvPr>
            <p:cNvCxnSpPr>
              <a:cxnSpLocks/>
              <a:endCxn id="17" idx="1"/>
            </p:cNvCxnSpPr>
            <p:nvPr/>
          </p:nvCxnSpPr>
          <p:spPr>
            <a:xfrm flipH="1">
              <a:off x="1582453" y="4034676"/>
              <a:ext cx="2190" cy="476634"/>
            </a:xfrm>
            <a:prstGeom prst="line">
              <a:avLst/>
            </a:prstGeom>
            <a:noFill/>
            <a:ln w="6350" cap="flat" cmpd="sng" algn="ctr">
              <a:solidFill>
                <a:srgbClr val="FFFFFF"/>
              </a:solidFill>
              <a:prstDash val="solid"/>
              <a:headEnd type="none" w="lg" len="med"/>
              <a:tailEnd type="triangle" w="med" len="med"/>
            </a:ln>
            <a:effectLst/>
          </p:spPr>
        </p:cxnSp>
      </p:grpSp>
      <p:grpSp>
        <p:nvGrpSpPr>
          <p:cNvPr id="34" name="Group 33">
            <a:extLst>
              <a:ext uri="{FF2B5EF4-FFF2-40B4-BE49-F238E27FC236}">
                <a16:creationId xmlns:a16="http://schemas.microsoft.com/office/drawing/2014/main" id="{B512A238-2488-E2B1-C137-DB858BE0BF11}"/>
              </a:ext>
            </a:extLst>
          </p:cNvPr>
          <p:cNvGrpSpPr/>
          <p:nvPr/>
        </p:nvGrpSpPr>
        <p:grpSpPr>
          <a:xfrm>
            <a:off x="6263441" y="2970592"/>
            <a:ext cx="290532" cy="1586782"/>
            <a:chOff x="6263441" y="2970592"/>
            <a:chExt cx="290532" cy="1586782"/>
          </a:xfrm>
        </p:grpSpPr>
        <p:grpSp>
          <p:nvGrpSpPr>
            <p:cNvPr id="35" name="Group 34">
              <a:extLst>
                <a:ext uri="{FF2B5EF4-FFF2-40B4-BE49-F238E27FC236}">
                  <a16:creationId xmlns:a16="http://schemas.microsoft.com/office/drawing/2014/main" id="{EFB2A915-A345-6DFA-B824-5A8652782519}"/>
                </a:ext>
              </a:extLst>
            </p:cNvPr>
            <p:cNvGrpSpPr/>
            <p:nvPr/>
          </p:nvGrpSpPr>
          <p:grpSpPr>
            <a:xfrm flipH="1">
              <a:off x="6263441" y="2970592"/>
              <a:ext cx="290532" cy="538756"/>
              <a:chOff x="1332001" y="2970592"/>
              <a:chExt cx="290532" cy="538756"/>
            </a:xfrm>
          </p:grpSpPr>
          <p:sp>
            <p:nvSpPr>
              <p:cNvPr id="37" name="!!Line2">
                <a:extLst>
                  <a:ext uri="{FF2B5EF4-FFF2-40B4-BE49-F238E27FC236}">
                    <a16:creationId xmlns:a16="http://schemas.microsoft.com/office/drawing/2014/main" id="{23B0772B-FA6A-B2B4-342C-7A13B0C856F2}"/>
                  </a:ext>
                </a:extLst>
              </p:cNvPr>
              <p:cNvSpPr/>
              <p:nvPr/>
            </p:nvSpPr>
            <p:spPr bwMode="auto">
              <a:xfrm rot="10800000">
                <a:off x="1332001" y="3240441"/>
                <a:ext cx="261611" cy="268907"/>
              </a:xfrm>
              <a:prstGeom prst="roundRect">
                <a:avLst>
                  <a:gd name="adj" fmla="val 8336"/>
                </a:avLst>
              </a:prstGeom>
              <a:noFill/>
              <a:ln w="6350" cap="flat" cmpd="sng" algn="ctr">
                <a:gradFill flip="none" rotWithShape="1">
                  <a:gsLst>
                    <a:gs pos="35000">
                      <a:srgbClr val="FFFFFF"/>
                    </a:gs>
                    <a:gs pos="0">
                      <a:srgbClr val="FFFFFF"/>
                    </a:gs>
                    <a:gs pos="100000">
                      <a:srgbClr val="FFFFFF">
                        <a:alpha val="0"/>
                      </a:srgbClr>
                    </a:gs>
                    <a:gs pos="37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 name="!!Line2">
                <a:extLst>
                  <a:ext uri="{FF2B5EF4-FFF2-40B4-BE49-F238E27FC236}">
                    <a16:creationId xmlns:a16="http://schemas.microsoft.com/office/drawing/2014/main" id="{8AB02624-9B4B-BD8C-FC6D-C2A1ADB5F740}"/>
                  </a:ext>
                </a:extLst>
              </p:cNvPr>
              <p:cNvSpPr/>
              <p:nvPr/>
            </p:nvSpPr>
            <p:spPr bwMode="auto">
              <a:xfrm>
                <a:off x="1360922" y="2970592"/>
                <a:ext cx="261611" cy="268907"/>
              </a:xfrm>
              <a:prstGeom prst="roundRect">
                <a:avLst>
                  <a:gd name="adj" fmla="val 8336"/>
                </a:avLst>
              </a:prstGeom>
              <a:noFill/>
              <a:ln w="6350" cap="flat" cmpd="sng" algn="ctr">
                <a:gradFill flip="none" rotWithShape="1">
                  <a:gsLst>
                    <a:gs pos="23000">
                      <a:srgbClr val="FFFFFF"/>
                    </a:gs>
                    <a:gs pos="0">
                      <a:srgbClr val="FFFFFF"/>
                    </a:gs>
                    <a:gs pos="100000">
                      <a:srgbClr val="FFFFFF">
                        <a:alpha val="0"/>
                      </a:srgbClr>
                    </a:gs>
                    <a:gs pos="43000">
                      <a:srgbClr val="FFFFFF">
                        <a:alpha val="0"/>
                      </a:srgbClr>
                    </a:gs>
                  </a:gsLst>
                  <a:lin ang="1890000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BA7E42A4-6F5B-5373-1B51-C3F68335CEE0}"/>
                  </a:ext>
                </a:extLst>
              </p:cNvPr>
              <p:cNvCxnSpPr>
                <a:cxnSpLocks/>
              </p:cNvCxnSpPr>
              <p:nvPr/>
            </p:nvCxnSpPr>
            <p:spPr>
              <a:xfrm>
                <a:off x="1593612" y="3311187"/>
                <a:ext cx="0" cy="193281"/>
              </a:xfrm>
              <a:prstGeom prst="line">
                <a:avLst/>
              </a:prstGeom>
              <a:noFill/>
              <a:ln w="6350" cap="flat" cmpd="sng" algn="ctr">
                <a:solidFill>
                  <a:srgbClr val="FFFFFF"/>
                </a:solidFill>
                <a:prstDash val="solid"/>
                <a:headEnd type="none" w="lg" len="med"/>
                <a:tailEnd type="none" w="lg" len="med"/>
              </a:ln>
              <a:effectLst/>
            </p:spPr>
          </p:cxnSp>
        </p:grpSp>
        <p:cxnSp>
          <p:nvCxnSpPr>
            <p:cNvPr id="36" name="Straight Connector 35">
              <a:extLst>
                <a:ext uri="{FF2B5EF4-FFF2-40B4-BE49-F238E27FC236}">
                  <a16:creationId xmlns:a16="http://schemas.microsoft.com/office/drawing/2014/main" id="{D97B0D5B-AAFC-E4F0-B90A-333C5129606E}"/>
                </a:ext>
              </a:extLst>
            </p:cNvPr>
            <p:cNvCxnSpPr>
              <a:cxnSpLocks/>
            </p:cNvCxnSpPr>
            <p:nvPr/>
          </p:nvCxnSpPr>
          <p:spPr>
            <a:xfrm>
              <a:off x="6286480" y="4080740"/>
              <a:ext cx="0" cy="476634"/>
            </a:xfrm>
            <a:prstGeom prst="line">
              <a:avLst/>
            </a:prstGeom>
            <a:noFill/>
            <a:ln w="6350" cap="flat" cmpd="sng" algn="ctr">
              <a:solidFill>
                <a:srgbClr val="FFFFFF"/>
              </a:solidFill>
              <a:prstDash val="solid"/>
              <a:headEnd type="none" w="lg" len="med"/>
              <a:tailEnd type="triangle" w="med" len="med"/>
            </a:ln>
            <a:effectLst/>
          </p:spPr>
        </p:cxnSp>
      </p:grpSp>
      <p:grpSp>
        <p:nvGrpSpPr>
          <p:cNvPr id="40" name="Group 39">
            <a:extLst>
              <a:ext uri="{FF2B5EF4-FFF2-40B4-BE49-F238E27FC236}">
                <a16:creationId xmlns:a16="http://schemas.microsoft.com/office/drawing/2014/main" id="{1935C49B-903A-9492-98BC-9D215E8CAF01}"/>
              </a:ext>
            </a:extLst>
          </p:cNvPr>
          <p:cNvGrpSpPr/>
          <p:nvPr/>
        </p:nvGrpSpPr>
        <p:grpSpPr>
          <a:xfrm>
            <a:off x="5474917" y="2994592"/>
            <a:ext cx="3131" cy="1516718"/>
            <a:chOff x="5474917" y="2994592"/>
            <a:chExt cx="3131" cy="1516718"/>
          </a:xfrm>
        </p:grpSpPr>
        <p:cxnSp>
          <p:nvCxnSpPr>
            <p:cNvPr id="41" name="Straight Connector 40">
              <a:extLst>
                <a:ext uri="{FF2B5EF4-FFF2-40B4-BE49-F238E27FC236}">
                  <a16:creationId xmlns:a16="http://schemas.microsoft.com/office/drawing/2014/main" id="{E91C111F-F018-598D-DF56-17FD44BABC1B}"/>
                </a:ext>
              </a:extLst>
            </p:cNvPr>
            <p:cNvCxnSpPr>
              <a:cxnSpLocks/>
            </p:cNvCxnSpPr>
            <p:nvPr/>
          </p:nvCxnSpPr>
          <p:spPr>
            <a:xfrm>
              <a:off x="5478048" y="2994592"/>
              <a:ext cx="0" cy="509876"/>
            </a:xfrm>
            <a:prstGeom prst="line">
              <a:avLst/>
            </a:prstGeom>
            <a:noFill/>
            <a:ln w="6350" cap="flat" cmpd="sng" algn="ctr">
              <a:gradFill>
                <a:gsLst>
                  <a:gs pos="33000">
                    <a:srgbClr val="FFFFFF"/>
                  </a:gs>
                  <a:gs pos="0">
                    <a:srgbClr val="FFFFFF">
                      <a:alpha val="0"/>
                    </a:srgbClr>
                  </a:gs>
                </a:gsLst>
                <a:lin ang="5400000" scaled="1"/>
              </a:gra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30CC35D1-F297-990E-4231-DC4AB169FB5F}"/>
                </a:ext>
              </a:extLst>
            </p:cNvPr>
            <p:cNvCxnSpPr>
              <a:cxnSpLocks/>
              <a:endCxn id="19" idx="1"/>
            </p:cNvCxnSpPr>
            <p:nvPr/>
          </p:nvCxnSpPr>
          <p:spPr>
            <a:xfrm flipH="1">
              <a:off x="5474917" y="4034676"/>
              <a:ext cx="3131" cy="476634"/>
            </a:xfrm>
            <a:prstGeom prst="line">
              <a:avLst/>
            </a:prstGeom>
            <a:noFill/>
            <a:ln w="6350" cap="flat" cmpd="sng" algn="ctr">
              <a:solidFill>
                <a:srgbClr val="FFFFFF"/>
              </a:solidFill>
              <a:prstDash val="solid"/>
              <a:headEnd type="none" w="lg" len="med"/>
              <a:tailEnd type="triangle" w="med" len="med"/>
            </a:ln>
            <a:effectLst/>
          </p:spPr>
        </p:cxnSp>
      </p:grpSp>
      <p:sp>
        <p:nvSpPr>
          <p:cNvPr id="43" name="Rectangle: Rounded Corners 23">
            <a:extLst>
              <a:ext uri="{FF2B5EF4-FFF2-40B4-BE49-F238E27FC236}">
                <a16:creationId xmlns:a16="http://schemas.microsoft.com/office/drawing/2014/main" id="{9980DA83-877D-E2CD-E5FF-40427FFED437}"/>
              </a:ext>
            </a:extLst>
          </p:cNvPr>
          <p:cNvSpPr/>
          <p:nvPr/>
        </p:nvSpPr>
        <p:spPr bwMode="auto">
          <a:xfrm>
            <a:off x="1280932" y="3506598"/>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SQL</a:t>
            </a:r>
          </a:p>
        </p:txBody>
      </p:sp>
      <p:sp>
        <p:nvSpPr>
          <p:cNvPr id="44" name="Rectangle: Rounded Corners 24">
            <a:extLst>
              <a:ext uri="{FF2B5EF4-FFF2-40B4-BE49-F238E27FC236}">
                <a16:creationId xmlns:a16="http://schemas.microsoft.com/office/drawing/2014/main" id="{F3EC14B6-B8AF-0D5B-8BD6-503621F9E36A}"/>
              </a:ext>
            </a:extLst>
          </p:cNvPr>
          <p:cNvSpPr/>
          <p:nvPr/>
        </p:nvSpPr>
        <p:spPr bwMode="auto">
          <a:xfrm>
            <a:off x="2086222" y="3506598"/>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park</a:t>
            </a:r>
          </a:p>
        </p:txBody>
      </p:sp>
      <p:sp>
        <p:nvSpPr>
          <p:cNvPr id="45" name="Rectangle: Rounded Corners 25">
            <a:extLst>
              <a:ext uri="{FF2B5EF4-FFF2-40B4-BE49-F238E27FC236}">
                <a16:creationId xmlns:a16="http://schemas.microsoft.com/office/drawing/2014/main" id="{DE6EE537-28B7-7072-1BC7-A7B1A8C3D05F}"/>
              </a:ext>
            </a:extLst>
          </p:cNvPr>
          <p:cNvSpPr/>
          <p:nvPr/>
        </p:nvSpPr>
        <p:spPr bwMode="auto">
          <a:xfrm>
            <a:off x="5174337" y="3511156"/>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QL</a:t>
            </a:r>
          </a:p>
        </p:txBody>
      </p:sp>
      <p:sp>
        <p:nvSpPr>
          <p:cNvPr id="46" name="Rectangle: Rounded Corners 28">
            <a:extLst>
              <a:ext uri="{FF2B5EF4-FFF2-40B4-BE49-F238E27FC236}">
                <a16:creationId xmlns:a16="http://schemas.microsoft.com/office/drawing/2014/main" id="{C5C48A69-48FE-827D-AB4A-18C944F35759}"/>
              </a:ext>
            </a:extLst>
          </p:cNvPr>
          <p:cNvSpPr/>
          <p:nvPr/>
        </p:nvSpPr>
        <p:spPr bwMode="auto">
          <a:xfrm>
            <a:off x="5982769" y="3504468"/>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0" tIns="91440" rIns="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Analysi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s</a:t>
            </a:r>
          </a:p>
        </p:txBody>
      </p:sp>
      <p:sp>
        <p:nvSpPr>
          <p:cNvPr id="47" name="TextBox 46">
            <a:extLst>
              <a:ext uri="{FF2B5EF4-FFF2-40B4-BE49-F238E27FC236}">
                <a16:creationId xmlns:a16="http://schemas.microsoft.com/office/drawing/2014/main" id="{5F8E9E61-4083-2434-F4A1-C82FC6E7CF2B}"/>
              </a:ext>
            </a:extLst>
          </p:cNvPr>
          <p:cNvSpPr txBox="1"/>
          <p:nvPr/>
        </p:nvSpPr>
        <p:spPr>
          <a:xfrm>
            <a:off x="134688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rPr>
              <a:t>Delta – Parquet Format</a:t>
            </a:r>
          </a:p>
        </p:txBody>
      </p:sp>
      <p:sp>
        <p:nvSpPr>
          <p:cNvPr id="48" name="TextBox 47">
            <a:extLst>
              <a:ext uri="{FF2B5EF4-FFF2-40B4-BE49-F238E27FC236}">
                <a16:creationId xmlns:a16="http://schemas.microsoft.com/office/drawing/2014/main" id="{FC722A66-CA10-39C1-567F-6FD822FAAD7E}"/>
              </a:ext>
            </a:extLst>
          </p:cNvPr>
          <p:cNvSpPr txBox="1"/>
          <p:nvPr/>
        </p:nvSpPr>
        <p:spPr>
          <a:xfrm>
            <a:off x="215436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49" name="TextBox 48">
            <a:extLst>
              <a:ext uri="{FF2B5EF4-FFF2-40B4-BE49-F238E27FC236}">
                <a16:creationId xmlns:a16="http://schemas.microsoft.com/office/drawing/2014/main" id="{5DA23FA0-18BC-AEF6-8AB9-7C5CB6235F1E}"/>
              </a:ext>
            </a:extLst>
          </p:cNvPr>
          <p:cNvSpPr txBox="1"/>
          <p:nvPr/>
        </p:nvSpPr>
        <p:spPr>
          <a:xfrm>
            <a:off x="5239347"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50" name="TextBox 49">
            <a:extLst>
              <a:ext uri="{FF2B5EF4-FFF2-40B4-BE49-F238E27FC236}">
                <a16:creationId xmlns:a16="http://schemas.microsoft.com/office/drawing/2014/main" id="{F7AF143B-6A9C-950B-A5F1-50658BAABB7F}"/>
              </a:ext>
            </a:extLst>
          </p:cNvPr>
          <p:cNvSpPr txBox="1"/>
          <p:nvPr/>
        </p:nvSpPr>
        <p:spPr>
          <a:xfrm>
            <a:off x="6056792"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51" name="Rounded Rectangle 14">
            <a:extLst>
              <a:ext uri="{FF2B5EF4-FFF2-40B4-BE49-F238E27FC236}">
                <a16:creationId xmlns:a16="http://schemas.microsoft.com/office/drawing/2014/main" id="{EB0EDD11-3D2F-F08D-5864-ECE594379BDF}"/>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52" name="Rounded Rectangle 16">
            <a:extLst>
              <a:ext uri="{FF2B5EF4-FFF2-40B4-BE49-F238E27FC236}">
                <a16:creationId xmlns:a16="http://schemas.microsoft.com/office/drawing/2014/main" id="{ADA9CDD7-AF1A-C072-9D5F-CE69631E8408}"/>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53" name="Rounded Rectangle 20">
            <a:extLst>
              <a:ext uri="{FF2B5EF4-FFF2-40B4-BE49-F238E27FC236}">
                <a16:creationId xmlns:a16="http://schemas.microsoft.com/office/drawing/2014/main" id="{FC3F7B16-940A-ABC1-0DC9-D89A13D5AAFC}"/>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54" name="Rounded Rectangle 21">
            <a:extLst>
              <a:ext uri="{FF2B5EF4-FFF2-40B4-BE49-F238E27FC236}">
                <a16:creationId xmlns:a16="http://schemas.microsoft.com/office/drawing/2014/main" id="{5BACBC45-FAA3-AFE4-6949-0E1EE73C2FAC}"/>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
        <p:nvSpPr>
          <p:cNvPr id="55" name="Rounded Rectangle 13">
            <a:extLst>
              <a:ext uri="{FF2B5EF4-FFF2-40B4-BE49-F238E27FC236}">
                <a16:creationId xmlns:a16="http://schemas.microsoft.com/office/drawing/2014/main" id="{8FB3D77A-BA53-D37E-F5A3-7F2E40FE0363}"/>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56" name="Rounded Rectangle 15">
            <a:extLst>
              <a:ext uri="{FF2B5EF4-FFF2-40B4-BE49-F238E27FC236}">
                <a16:creationId xmlns:a16="http://schemas.microsoft.com/office/drawing/2014/main" id="{96F5E523-F1FE-4C9E-7794-1A499C927E61}"/>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gration</a:t>
            </a:r>
          </a:p>
        </p:txBody>
      </p:sp>
    </p:spTree>
    <p:extLst>
      <p:ext uri="{BB962C8B-B14F-4D97-AF65-F5344CB8AC3E}">
        <p14:creationId xmlns:p14="http://schemas.microsoft.com/office/powerpoint/2010/main" val="465715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1000"/>
                                        <p:tgtEl>
                                          <p:spTgt spid="2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up)">
                                      <p:cBhvr>
                                        <p:cTn id="16" dur="1000"/>
                                        <p:tgtEl>
                                          <p:spTgt spid="21"/>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wipe(up)">
                                      <p:cBhvr>
                                        <p:cTn id="25" dur="1000"/>
                                        <p:tgtEl>
                                          <p:spTgt spid="40"/>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wipe(up)">
                                      <p:cBhvr>
                                        <p:cTn id="34" dur="1000"/>
                                        <p:tgtEl>
                                          <p:spTgt spid="34"/>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500"/>
                                        <p:tgtEl>
                                          <p:spTgt spid="4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500"/>
                                        <p:tgtEl>
                                          <p:spTgt spid="4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47" grpId="0"/>
      <p:bldP spid="48" grpId="0"/>
      <p:bldP spid="49" grpId="0"/>
      <p:bldP spid="5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2">
            <a:extLst>
              <a:ext uri="{FF2B5EF4-FFF2-40B4-BE49-F238E27FC236}">
                <a16:creationId xmlns:a16="http://schemas.microsoft.com/office/drawing/2014/main" id="{FCCC1A85-15E7-C033-0E69-918B908084BA}"/>
              </a:ext>
            </a:extLst>
          </p:cNvPr>
          <p:cNvSpPr/>
          <p:nvPr/>
        </p:nvSpPr>
        <p:spPr bwMode="auto">
          <a:xfrm>
            <a:off x="582614" y="1881188"/>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358F69F9-0050-BC2F-B994-B8BA12FDCD2A}"/>
              </a:ext>
            </a:extLst>
          </p:cNvPr>
          <p:cNvSpPr/>
          <p:nvPr/>
        </p:nvSpPr>
        <p:spPr>
          <a:xfrm>
            <a:off x="780442" y="2571921"/>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Rounded Rectangle 45">
            <a:extLst>
              <a:ext uri="{FF2B5EF4-FFF2-40B4-BE49-F238E27FC236}">
                <a16:creationId xmlns:a16="http://schemas.microsoft.com/office/drawing/2014/main" id="{15BC9FC2-82BE-9F2D-FAD9-6C9F2784ECC4}"/>
              </a:ext>
            </a:extLst>
          </p:cNvPr>
          <p:cNvSpPr/>
          <p:nvPr/>
        </p:nvSpPr>
        <p:spPr>
          <a:xfrm>
            <a:off x="998538" y="3075771"/>
            <a:ext cx="5870907" cy="831968"/>
          </a:xfrm>
          <a:prstGeom prst="roundRect">
            <a:avLst>
              <a:gd name="adj" fmla="val 5340"/>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erverle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mpute</a:t>
            </a:r>
          </a:p>
        </p:txBody>
      </p:sp>
      <p:sp>
        <p:nvSpPr>
          <p:cNvPr id="7" name="Rounded Rectangle 45">
            <a:extLst>
              <a:ext uri="{FF2B5EF4-FFF2-40B4-BE49-F238E27FC236}">
                <a16:creationId xmlns:a16="http://schemas.microsoft.com/office/drawing/2014/main" id="{8497326A-80BF-3BD4-2090-C31A12869838}"/>
              </a:ext>
            </a:extLst>
          </p:cNvPr>
          <p:cNvSpPr/>
          <p:nvPr/>
        </p:nvSpPr>
        <p:spPr>
          <a:xfrm>
            <a:off x="998538" y="3995606"/>
            <a:ext cx="5870907" cy="1568457"/>
          </a:xfrm>
          <a:prstGeom prst="roundRect">
            <a:avLst>
              <a:gd name="adj" fmla="val 3792"/>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503998"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8" name="Title 13">
            <a:extLst>
              <a:ext uri="{FF2B5EF4-FFF2-40B4-BE49-F238E27FC236}">
                <a16:creationId xmlns:a16="http://schemas.microsoft.com/office/drawing/2014/main" id="{11985971-3324-D559-D77A-619A72B0D57C}"/>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One Copy for all computes</a:t>
            </a:r>
          </a:p>
        </p:txBody>
      </p:sp>
      <p:sp>
        <p:nvSpPr>
          <p:cNvPr id="9" name="Text Placeholder 19">
            <a:extLst>
              <a:ext uri="{FF2B5EF4-FFF2-40B4-BE49-F238E27FC236}">
                <a16:creationId xmlns:a16="http://schemas.microsoft.com/office/drawing/2014/main" id="{0ACB7635-0006-7C48-8ECA-19DE0190FCB3}"/>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Universal security makes it real</a:t>
            </a:r>
          </a:p>
        </p:txBody>
      </p:sp>
      <p:grpSp>
        <p:nvGrpSpPr>
          <p:cNvPr id="10" name="Group 9">
            <a:extLst>
              <a:ext uri="{FF2B5EF4-FFF2-40B4-BE49-F238E27FC236}">
                <a16:creationId xmlns:a16="http://schemas.microsoft.com/office/drawing/2014/main" id="{E87A7C91-6EA4-8242-F891-5B14522D420B}"/>
              </a:ext>
            </a:extLst>
          </p:cNvPr>
          <p:cNvGrpSpPr/>
          <p:nvPr/>
        </p:nvGrpSpPr>
        <p:grpSpPr>
          <a:xfrm>
            <a:off x="7446599" y="2121681"/>
            <a:ext cx="4291232" cy="3703578"/>
            <a:chOff x="7446599" y="2209843"/>
            <a:chExt cx="4291232" cy="3703578"/>
          </a:xfrm>
        </p:grpSpPr>
        <p:sp>
          <p:nvSpPr>
            <p:cNvPr id="11" name="TextBox 10">
              <a:extLst>
                <a:ext uri="{FF2B5EF4-FFF2-40B4-BE49-F238E27FC236}">
                  <a16:creationId xmlns:a16="http://schemas.microsoft.com/office/drawing/2014/main" id="{17904871-0F06-A7BD-3259-269230A80078}"/>
                </a:ext>
              </a:extLst>
            </p:cNvPr>
            <p:cNvSpPr txBox="1"/>
            <p:nvPr/>
          </p:nvSpPr>
          <p:spPr>
            <a:xfrm>
              <a:off x="7446599" y="2209843"/>
              <a:ext cx="4291232" cy="3703578"/>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ll the compute engines store their data automatically in </a:t>
              </a:r>
              <a:r>
                <a:rPr kumimoji="0" lang="en-US" sz="1400" b="0" i="0" u="none" strike="noStrike" kern="0" cap="none" spc="0" normalizeH="0" baseline="0" noProof="0" err="1">
                  <a:ln>
                    <a:noFill/>
                  </a:ln>
                  <a:solidFill>
                    <a:srgbClr val="000000"/>
                  </a:solidFill>
                  <a:effectLst/>
                  <a:uLnTx/>
                  <a:uFillTx/>
                  <a:latin typeface="Segoe UI" panose="020B0502040204020203" pitchFamily="34" charset="0"/>
                  <a:cs typeface="Segoe UI" panose="020B0502040204020203" pitchFamily="34" charset="0"/>
                </a:rPr>
                <a:t>OneLake</a:t>
              </a:r>
              <a:endPar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he data is stored in a single common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78D4"/>
                  </a:solidFill>
                  <a:effectLst/>
                  <a:uLnTx/>
                  <a:uFillTx/>
                  <a:latin typeface="Segoe UI Semibold"/>
                  <a:cs typeface="Segoe UI" panose="020B0502040204020203" pitchFamily="34" charset="0"/>
                </a:rPr>
                <a:t>Delta – Parquet</a:t>
              </a:r>
              <a:r>
                <a:rPr kumimoji="0" lang="en-US" sz="1400" b="0" i="0" u="none" strike="noStrike" kern="0" cap="none" spc="0" normalizeH="0" baseline="0" noProof="0">
                  <a:ln>
                    <a:noFill/>
                  </a:ln>
                  <a:solidFill>
                    <a:srgbClr val="000000"/>
                  </a:solidFill>
                  <a:effectLst/>
                  <a:uLnTx/>
                  <a:uFillTx/>
                  <a:latin typeface="Segoe UI"/>
                  <a:cs typeface="Segoe UI" panose="020B0502040204020203" pitchFamily="34" charset="0"/>
                </a:rPr>
                <a:t>,</a:t>
              </a:r>
              <a:r>
                <a:rPr kumimoji="0" lang="en-US" sz="1400" b="0" i="0" u="none" strike="noStrike" kern="0" cap="none" spc="0" normalizeH="0" baseline="0" noProof="0">
                  <a:ln>
                    <a:noFill/>
                  </a:ln>
                  <a:solidFill>
                    <a:srgbClr val="000000"/>
                  </a:solidFill>
                  <a:effectLst/>
                  <a:uLnTx/>
                  <a:uFillTx/>
                  <a:latin typeface="Segoe UI Semibold"/>
                  <a:cs typeface="Segoe UI" panose="020B0502040204020203" pitchFamily="34" charset="0"/>
                </a:rPr>
                <a:t> </a:t>
              </a: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n open standards format, is the storage format for all tabular data in Fabric</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Once data is stored in the lake, it is directly accessible by all the engines without needing any import/expor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All the compute engines have been fully optimized to work with Delta Parquet as their native forma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hared universal security model is enforced across all the engines</a:t>
              </a:r>
              <a:endParaRPr kumimoji="0" lang="en-US" sz="1400" b="1" i="0" u="none" strike="noStrike" kern="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endParaRPr>
            </a:p>
          </p:txBody>
        </p:sp>
        <p:cxnSp>
          <p:nvCxnSpPr>
            <p:cNvPr id="12" name="Straight Connector 11">
              <a:extLst>
                <a:ext uri="{FF2B5EF4-FFF2-40B4-BE49-F238E27FC236}">
                  <a16:creationId xmlns:a16="http://schemas.microsoft.com/office/drawing/2014/main" id="{98B5F3C8-3372-A06F-6A36-068A0AE2C6F8}"/>
                </a:ext>
              </a:extLst>
            </p:cNvPr>
            <p:cNvCxnSpPr>
              <a:cxnSpLocks/>
            </p:cNvCxnSpPr>
            <p:nvPr/>
          </p:nvCxnSpPr>
          <p:spPr>
            <a:xfrm>
              <a:off x="7492808" y="5313048"/>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03C4AE09-9700-37EB-E8D2-AD59F2A39E41}"/>
                </a:ext>
              </a:extLst>
            </p:cNvPr>
            <p:cNvCxnSpPr>
              <a:cxnSpLocks/>
            </p:cNvCxnSpPr>
            <p:nvPr/>
          </p:nvCxnSpPr>
          <p:spPr>
            <a:xfrm>
              <a:off x="7492808" y="2782993"/>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D2EEF36F-66E8-4080-B520-B68A36663D40}"/>
                </a:ext>
              </a:extLst>
            </p:cNvPr>
            <p:cNvCxnSpPr>
              <a:cxnSpLocks/>
            </p:cNvCxnSpPr>
            <p:nvPr/>
          </p:nvCxnSpPr>
          <p:spPr>
            <a:xfrm>
              <a:off x="7492808" y="4671806"/>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0243ECA2-0198-E662-5772-8236F87800BF}"/>
                </a:ext>
              </a:extLst>
            </p:cNvPr>
            <p:cNvCxnSpPr>
              <a:cxnSpLocks/>
            </p:cNvCxnSpPr>
            <p:nvPr/>
          </p:nvCxnSpPr>
          <p:spPr>
            <a:xfrm>
              <a:off x="7492808" y="3839862"/>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6" name="Straight Connector 15">
              <a:extLst>
                <a:ext uri="{FF2B5EF4-FFF2-40B4-BE49-F238E27FC236}">
                  <a16:creationId xmlns:a16="http://schemas.microsoft.com/office/drawing/2014/main" id="{1384055B-D070-EE0B-5236-8138FC5C09BB}"/>
                </a:ext>
              </a:extLst>
            </p:cNvPr>
            <p:cNvCxnSpPr>
              <a:cxnSpLocks/>
            </p:cNvCxnSpPr>
            <p:nvPr/>
          </p:nvCxnSpPr>
          <p:spPr>
            <a:xfrm>
              <a:off x="7492808" y="3188322"/>
              <a:ext cx="4116577" cy="0"/>
            </a:xfrm>
            <a:prstGeom prst="line">
              <a:avLst/>
            </a:prstGeom>
            <a:noFill/>
            <a:ln w="9525" cap="flat" cmpd="sng" algn="ctr">
              <a:solidFill>
                <a:srgbClr val="FFFFFF">
                  <a:lumMod val="85000"/>
                </a:srgbClr>
              </a:solidFill>
              <a:prstDash val="solid"/>
              <a:headEnd type="none" w="lg" len="med"/>
              <a:tailEnd type="none" w="lg" len="med"/>
            </a:ln>
            <a:effectLst/>
          </p:spPr>
        </p:cxnSp>
      </p:grpSp>
      <p:sp>
        <p:nvSpPr>
          <p:cNvPr id="17" name="Rectangle: Rounded Corners 23">
            <a:extLst>
              <a:ext uri="{FF2B5EF4-FFF2-40B4-BE49-F238E27FC236}">
                <a16:creationId xmlns:a16="http://schemas.microsoft.com/office/drawing/2014/main" id="{B54E3B13-463A-978F-6A83-676EF46288FA}"/>
              </a:ext>
            </a:extLst>
          </p:cNvPr>
          <p:cNvSpPr/>
          <p:nvPr/>
        </p:nvSpPr>
        <p:spPr bwMode="auto">
          <a:xfrm>
            <a:off x="1280932" y="3187473"/>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SQL</a:t>
            </a:r>
          </a:p>
        </p:txBody>
      </p:sp>
      <p:sp>
        <p:nvSpPr>
          <p:cNvPr id="18" name="Rectangle: Rounded Corners 24">
            <a:extLst>
              <a:ext uri="{FF2B5EF4-FFF2-40B4-BE49-F238E27FC236}">
                <a16:creationId xmlns:a16="http://schemas.microsoft.com/office/drawing/2014/main" id="{2DE5E7FA-5FAF-F9EC-64CD-85C8F2519C01}"/>
              </a:ext>
            </a:extLst>
          </p:cNvPr>
          <p:cNvSpPr/>
          <p:nvPr/>
        </p:nvSpPr>
        <p:spPr bwMode="auto">
          <a:xfrm>
            <a:off x="2086222" y="3187473"/>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park</a:t>
            </a:r>
          </a:p>
        </p:txBody>
      </p:sp>
      <p:sp>
        <p:nvSpPr>
          <p:cNvPr id="19" name="Rectangle: Rounded Corners 25">
            <a:extLst>
              <a:ext uri="{FF2B5EF4-FFF2-40B4-BE49-F238E27FC236}">
                <a16:creationId xmlns:a16="http://schemas.microsoft.com/office/drawing/2014/main" id="{BF26F55D-98D7-9FB9-6499-A6D17961F9C6}"/>
              </a:ext>
            </a:extLst>
          </p:cNvPr>
          <p:cNvSpPr/>
          <p:nvPr/>
        </p:nvSpPr>
        <p:spPr bwMode="auto">
          <a:xfrm>
            <a:off x="5174337" y="3192031"/>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QL</a:t>
            </a:r>
          </a:p>
        </p:txBody>
      </p:sp>
      <p:sp>
        <p:nvSpPr>
          <p:cNvPr id="20" name="Rectangle: Rounded Corners 28">
            <a:extLst>
              <a:ext uri="{FF2B5EF4-FFF2-40B4-BE49-F238E27FC236}">
                <a16:creationId xmlns:a16="http://schemas.microsoft.com/office/drawing/2014/main" id="{5E2833F9-234A-FF9D-E627-FD0723AA0718}"/>
              </a:ext>
            </a:extLst>
          </p:cNvPr>
          <p:cNvSpPr/>
          <p:nvPr/>
        </p:nvSpPr>
        <p:spPr bwMode="auto">
          <a:xfrm>
            <a:off x="5982769" y="3185343"/>
            <a:ext cx="607422" cy="608565"/>
          </a:xfrm>
          <a:prstGeom prst="ellipse">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0" tIns="91440" rIns="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Analysi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s</a:t>
            </a:r>
          </a:p>
        </p:txBody>
      </p:sp>
      <p:sp>
        <p:nvSpPr>
          <p:cNvPr id="21" name="Rounded Rectangle 45">
            <a:extLst>
              <a:ext uri="{FF2B5EF4-FFF2-40B4-BE49-F238E27FC236}">
                <a16:creationId xmlns:a16="http://schemas.microsoft.com/office/drawing/2014/main" id="{0C3F56BA-7A32-F645-95FF-C8BFC108AD17}"/>
              </a:ext>
            </a:extLst>
          </p:cNvPr>
          <p:cNvSpPr/>
          <p:nvPr/>
        </p:nvSpPr>
        <p:spPr>
          <a:xfrm>
            <a:off x="1126853" y="4105055"/>
            <a:ext cx="5618864" cy="298934"/>
          </a:xfrm>
          <a:prstGeom prst="roundRect">
            <a:avLst>
              <a:gd name="adj" fmla="val 50000"/>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err="1">
                <a:ln>
                  <a:noFill/>
                </a:ln>
                <a:solidFill>
                  <a:srgbClr val="FFFFFF"/>
                </a:solidFill>
                <a:effectLst/>
                <a:uLnTx/>
                <a:uFillTx/>
                <a:latin typeface="Segoe UI"/>
                <a:ea typeface="+mn-ea"/>
                <a:cs typeface="Segoe UI" pitchFamily="34" charset="0"/>
              </a:rPr>
              <a:t>OneSecurity</a:t>
            </a:r>
            <a:r>
              <a:rPr kumimoji="0" lang="en-US" sz="1000" b="1" i="0" u="none" strike="noStrike" kern="0" cap="none" spc="0" normalizeH="0" baseline="0" noProof="0">
                <a:ln>
                  <a:noFill/>
                </a:ln>
                <a:solidFill>
                  <a:srgbClr val="FFFFFF"/>
                </a:solidFill>
                <a:effectLst/>
                <a:uLnTx/>
                <a:uFillTx/>
                <a:latin typeface="Segoe UI"/>
                <a:ea typeface="+mn-ea"/>
                <a:cs typeface="Segoe UI" pitchFamily="34" charset="0"/>
              </a:rPr>
              <a:t> </a:t>
            </a:r>
          </a:p>
        </p:txBody>
      </p:sp>
      <p:sp>
        <p:nvSpPr>
          <p:cNvPr id="22" name="Rounded Rectangle 15">
            <a:extLst>
              <a:ext uri="{FF2B5EF4-FFF2-40B4-BE49-F238E27FC236}">
                <a16:creationId xmlns:a16="http://schemas.microsoft.com/office/drawing/2014/main" id="{9AB2E137-044A-54FA-E719-05C67895572B}"/>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23" name="Rounded Rectangle 20">
            <a:extLst>
              <a:ext uri="{FF2B5EF4-FFF2-40B4-BE49-F238E27FC236}">
                <a16:creationId xmlns:a16="http://schemas.microsoft.com/office/drawing/2014/main" id="{A167A1AB-CB05-EE1F-964D-E1A78F45D311}"/>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
        <p:nvSpPr>
          <p:cNvPr id="24" name="TextBox 23">
            <a:extLst>
              <a:ext uri="{FF2B5EF4-FFF2-40B4-BE49-F238E27FC236}">
                <a16:creationId xmlns:a16="http://schemas.microsoft.com/office/drawing/2014/main" id="{09246992-84F7-30FF-B7FA-A0C90CB86558}"/>
              </a:ext>
            </a:extLst>
          </p:cNvPr>
          <p:cNvSpPr txBox="1"/>
          <p:nvPr/>
        </p:nvSpPr>
        <p:spPr>
          <a:xfrm>
            <a:off x="134688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5" name="TextBox 24">
            <a:extLst>
              <a:ext uri="{FF2B5EF4-FFF2-40B4-BE49-F238E27FC236}">
                <a16:creationId xmlns:a16="http://schemas.microsoft.com/office/drawing/2014/main" id="{75819E4F-F4D6-07DF-A8C5-D197F5A67588}"/>
              </a:ext>
            </a:extLst>
          </p:cNvPr>
          <p:cNvSpPr txBox="1"/>
          <p:nvPr/>
        </p:nvSpPr>
        <p:spPr>
          <a:xfrm>
            <a:off x="2154363"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6" name="TextBox 25">
            <a:extLst>
              <a:ext uri="{FF2B5EF4-FFF2-40B4-BE49-F238E27FC236}">
                <a16:creationId xmlns:a16="http://schemas.microsoft.com/office/drawing/2014/main" id="{CF0346D8-25E3-FAF3-7B56-904E605D72A4}"/>
              </a:ext>
            </a:extLst>
          </p:cNvPr>
          <p:cNvSpPr txBox="1"/>
          <p:nvPr/>
        </p:nvSpPr>
        <p:spPr>
          <a:xfrm>
            <a:off x="5239347"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7" name="TextBox 26">
            <a:extLst>
              <a:ext uri="{FF2B5EF4-FFF2-40B4-BE49-F238E27FC236}">
                <a16:creationId xmlns:a16="http://schemas.microsoft.com/office/drawing/2014/main" id="{CAA8F560-7378-9DFC-1A6D-B878E70E49F4}"/>
              </a:ext>
            </a:extLst>
          </p:cNvPr>
          <p:cNvSpPr txBox="1"/>
          <p:nvPr/>
        </p:nvSpPr>
        <p:spPr>
          <a:xfrm>
            <a:off x="6056792" y="5089166"/>
            <a:ext cx="471140" cy="332399"/>
          </a:xfrm>
          <a:prstGeom prst="rect">
            <a:avLst/>
          </a:prstGeom>
          <a:noFill/>
        </p:spPr>
        <p:txBody>
          <a:bodyPr wrap="square" lIns="0" tIns="0" rIns="0" bIns="0" rtlCol="0" anchor="t">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Delta – Parquet Format</a:t>
            </a:r>
          </a:p>
        </p:txBody>
      </p:sp>
      <p:sp>
        <p:nvSpPr>
          <p:cNvPr id="28" name="Cylinder 22">
            <a:extLst>
              <a:ext uri="{FF2B5EF4-FFF2-40B4-BE49-F238E27FC236}">
                <a16:creationId xmlns:a16="http://schemas.microsoft.com/office/drawing/2014/main" id="{C6BE29F1-A387-1924-2124-C45F13DAB51A}"/>
              </a:ext>
            </a:extLst>
          </p:cNvPr>
          <p:cNvSpPr/>
          <p:nvPr/>
        </p:nvSpPr>
        <p:spPr bwMode="auto">
          <a:xfrm>
            <a:off x="121499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29" name="Cylinder 88">
            <a:extLst>
              <a:ext uri="{FF2B5EF4-FFF2-40B4-BE49-F238E27FC236}">
                <a16:creationId xmlns:a16="http://schemas.microsoft.com/office/drawing/2014/main" id="{C71FFA88-4012-0298-3E89-0708BF22385A}"/>
              </a:ext>
            </a:extLst>
          </p:cNvPr>
          <p:cNvSpPr/>
          <p:nvPr/>
        </p:nvSpPr>
        <p:spPr bwMode="auto">
          <a:xfrm>
            <a:off x="2022470"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30" name="Cylinder 89">
            <a:extLst>
              <a:ext uri="{FF2B5EF4-FFF2-40B4-BE49-F238E27FC236}">
                <a16:creationId xmlns:a16="http://schemas.microsoft.com/office/drawing/2014/main" id="{55362606-E39A-214E-4B78-3BA5AEF52A1F}"/>
              </a:ext>
            </a:extLst>
          </p:cNvPr>
          <p:cNvSpPr/>
          <p:nvPr/>
        </p:nvSpPr>
        <p:spPr bwMode="auto">
          <a:xfrm>
            <a:off x="5107454"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31" name="Cylinder 91">
            <a:extLst>
              <a:ext uri="{FF2B5EF4-FFF2-40B4-BE49-F238E27FC236}">
                <a16:creationId xmlns:a16="http://schemas.microsoft.com/office/drawing/2014/main" id="{1761C44F-6AF4-8FB0-48B9-978B4D0F1B94}"/>
              </a:ext>
            </a:extLst>
          </p:cNvPr>
          <p:cNvSpPr/>
          <p:nvPr/>
        </p:nvSpPr>
        <p:spPr bwMode="auto">
          <a:xfrm>
            <a:off x="5924899" y="451131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sp>
        <p:nvSpPr>
          <p:cNvPr id="32" name="Rounded Rectangle 13">
            <a:extLst>
              <a:ext uri="{FF2B5EF4-FFF2-40B4-BE49-F238E27FC236}">
                <a16:creationId xmlns:a16="http://schemas.microsoft.com/office/drawing/2014/main" id="{326BAC89-A50B-F8E3-AF7E-D6A90BBFA760}"/>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33" name="Rounded Rectangle 15">
            <a:extLst>
              <a:ext uri="{FF2B5EF4-FFF2-40B4-BE49-F238E27FC236}">
                <a16:creationId xmlns:a16="http://schemas.microsoft.com/office/drawing/2014/main" id="{E3697BD5-FA3C-827B-EA30-D4F0C0657698}"/>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34" name="Rounded Rectangle 16">
            <a:extLst>
              <a:ext uri="{FF2B5EF4-FFF2-40B4-BE49-F238E27FC236}">
                <a16:creationId xmlns:a16="http://schemas.microsoft.com/office/drawing/2014/main" id="{51D58ED5-9C01-F61F-C699-7EC38D875946}"/>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35" name="Rounded Rectangle 20">
            <a:extLst>
              <a:ext uri="{FF2B5EF4-FFF2-40B4-BE49-F238E27FC236}">
                <a16:creationId xmlns:a16="http://schemas.microsoft.com/office/drawing/2014/main" id="{43D0FE53-8C79-DB57-0A97-F8AF53DF5210}"/>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Analytics</a:t>
            </a:r>
          </a:p>
        </p:txBody>
      </p:sp>
    </p:spTree>
    <p:extLst>
      <p:ext uri="{BB962C8B-B14F-4D97-AF65-F5344CB8AC3E}">
        <p14:creationId xmlns:p14="http://schemas.microsoft.com/office/powerpoint/2010/main" val="4044134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9">
            <a:extLst>
              <a:ext uri="{FF2B5EF4-FFF2-40B4-BE49-F238E27FC236}">
                <a16:creationId xmlns:a16="http://schemas.microsoft.com/office/drawing/2014/main" id="{241A5E93-9B5F-DF13-AE90-30B49633A5C7}"/>
              </a:ext>
            </a:extLst>
          </p:cNvPr>
          <p:cNvSpPr txBox="1">
            <a:spLocks/>
          </p:cNvSpPr>
          <p:nvPr/>
        </p:nvSpPr>
        <p:spPr>
          <a:xfrm>
            <a:off x="582614" y="62049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Taking One Copy to the next </a:t>
            </a:r>
            <a:r>
              <a:rPr lang="en-US" dirty="0">
                <a:solidFill>
                  <a:srgbClr val="117865"/>
                </a:solidFill>
                <a:latin typeface="Segoe UI Semibold"/>
              </a:rPr>
              <a:t>l</a:t>
            </a:r>
            <a:r>
              <a:rPr kumimoji="0" lang="en-US" sz="3600" b="0" i="0" u="none" strike="noStrike" kern="1200" cap="none" spc="-50" normalizeH="0" baseline="0" noProof="0" dirty="0" err="1">
                <a:ln w="3175">
                  <a:noFill/>
                </a:ln>
                <a:solidFill>
                  <a:srgbClr val="117865"/>
                </a:solidFill>
                <a:effectLst/>
                <a:uLnTx/>
                <a:uFillTx/>
                <a:latin typeface="Segoe UI Semibold"/>
                <a:ea typeface="+mn-ea"/>
                <a:cs typeface="Segoe UI" pitchFamily="34" charset="0"/>
              </a:rPr>
              <a:t>evel</a:t>
            </a:r>
            <a:endPar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endParaRPr>
          </a:p>
        </p:txBody>
      </p:sp>
      <p:sp>
        <p:nvSpPr>
          <p:cNvPr id="5" name="Text Placeholder 30">
            <a:extLst>
              <a:ext uri="{FF2B5EF4-FFF2-40B4-BE49-F238E27FC236}">
                <a16:creationId xmlns:a16="http://schemas.microsoft.com/office/drawing/2014/main" id="{0AF4D2F8-3FE4-2B96-9E7B-B93FC372F0FF}"/>
              </a:ext>
            </a:extLst>
          </p:cNvPr>
          <p:cNvSpPr txBox="1">
            <a:spLocks/>
          </p:cNvSpPr>
          <p:nvPr/>
        </p:nvSpPr>
        <p:spPr>
          <a:xfrm>
            <a:off x="582614" y="1209211"/>
            <a:ext cx="11026772"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hortcuts</a:t>
            </a:r>
          </a:p>
        </p:txBody>
      </p:sp>
      <p:sp>
        <p:nvSpPr>
          <p:cNvPr id="6" name="Rounded Rectangle 38">
            <a:extLst>
              <a:ext uri="{FF2B5EF4-FFF2-40B4-BE49-F238E27FC236}">
                <a16:creationId xmlns:a16="http://schemas.microsoft.com/office/drawing/2014/main" id="{BC4786C0-7A2C-A456-097F-0E4778E472D4}"/>
              </a:ext>
            </a:extLst>
          </p:cNvPr>
          <p:cNvSpPr/>
          <p:nvPr/>
        </p:nvSpPr>
        <p:spPr bwMode="auto">
          <a:xfrm>
            <a:off x="582614" y="1883613"/>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7" name="Rounded Rectangle 45">
            <a:extLst>
              <a:ext uri="{FF2B5EF4-FFF2-40B4-BE49-F238E27FC236}">
                <a16:creationId xmlns:a16="http://schemas.microsoft.com/office/drawing/2014/main" id="{B4DFA692-B8F5-DD4B-B1F1-65F12B71CF79}"/>
              </a:ext>
            </a:extLst>
          </p:cNvPr>
          <p:cNvSpPr/>
          <p:nvPr/>
        </p:nvSpPr>
        <p:spPr>
          <a:xfrm>
            <a:off x="780442" y="2572340"/>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8" name="Rounded Rectangle 45">
            <a:extLst>
              <a:ext uri="{FF2B5EF4-FFF2-40B4-BE49-F238E27FC236}">
                <a16:creationId xmlns:a16="http://schemas.microsoft.com/office/drawing/2014/main" id="{CFE3D7EC-07FD-89F2-2C6D-1FB0B89F2348}"/>
              </a:ext>
            </a:extLst>
          </p:cNvPr>
          <p:cNvSpPr/>
          <p:nvPr/>
        </p:nvSpPr>
        <p:spPr>
          <a:xfrm>
            <a:off x="998538" y="3141920"/>
            <a:ext cx="5870907" cy="1442318"/>
          </a:xfrm>
          <a:prstGeom prst="roundRect">
            <a:avLst>
              <a:gd name="adj" fmla="val 4528"/>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9" name="TextBox 8">
            <a:extLst>
              <a:ext uri="{FF2B5EF4-FFF2-40B4-BE49-F238E27FC236}">
                <a16:creationId xmlns:a16="http://schemas.microsoft.com/office/drawing/2014/main" id="{F3F69727-FD4F-2AA5-3EDD-BD75CD0E2D71}"/>
              </a:ext>
            </a:extLst>
          </p:cNvPr>
          <p:cNvSpPr txBox="1"/>
          <p:nvPr/>
        </p:nvSpPr>
        <p:spPr>
          <a:xfrm>
            <a:off x="7446599" y="1898403"/>
            <a:ext cx="4116577" cy="4154984"/>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haring data in OneLake is as easy as sharing files in OneDrive, removing the needs for data duplication</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With </a:t>
            </a:r>
            <a:r>
              <a:rPr kumimoji="0" lang="en-US" sz="16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shortcuts</a:t>
            </a: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data throughout OneLake can be composed together without any data movement</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hortcuts also allow instant linking of data already existing in Azure and in other clouds, without any data duplication and movement, making </a:t>
            </a:r>
            <a:r>
              <a:rPr kumimoji="0" lang="en-US" sz="16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OneLake the first multi-cloud data lake</a:t>
            </a:r>
          </a:p>
          <a:p>
            <a:pPr marL="0" marR="0" lvl="0" indent="0" defTabSz="91440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With support for industry standard APIs, OneLake data can be directly accessed by any application or service</a:t>
            </a:r>
          </a:p>
        </p:txBody>
      </p:sp>
      <p:cxnSp>
        <p:nvCxnSpPr>
          <p:cNvPr id="10" name="Straight Connector 9">
            <a:extLst>
              <a:ext uri="{FF2B5EF4-FFF2-40B4-BE49-F238E27FC236}">
                <a16:creationId xmlns:a16="http://schemas.microsoft.com/office/drawing/2014/main" id="{D1245776-F3BB-7D10-2340-7B2D89F2B9B6}"/>
              </a:ext>
            </a:extLst>
          </p:cNvPr>
          <p:cNvCxnSpPr>
            <a:cxnSpLocks/>
          </p:cNvCxnSpPr>
          <p:nvPr/>
        </p:nvCxnSpPr>
        <p:spPr>
          <a:xfrm>
            <a:off x="7492808" y="2764511"/>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1" name="Straight Connector 10">
            <a:extLst>
              <a:ext uri="{FF2B5EF4-FFF2-40B4-BE49-F238E27FC236}">
                <a16:creationId xmlns:a16="http://schemas.microsoft.com/office/drawing/2014/main" id="{25AFF1EA-F4E8-049B-A108-5EB6B547425E}"/>
              </a:ext>
            </a:extLst>
          </p:cNvPr>
          <p:cNvCxnSpPr>
            <a:cxnSpLocks/>
          </p:cNvCxnSpPr>
          <p:nvPr/>
        </p:nvCxnSpPr>
        <p:spPr>
          <a:xfrm>
            <a:off x="7492808" y="3711862"/>
            <a:ext cx="4116577" cy="0"/>
          </a:xfrm>
          <a:prstGeom prst="line">
            <a:avLst/>
          </a:prstGeom>
          <a:noFill/>
          <a:ln w="9525" cap="flat" cmpd="sng" algn="ctr">
            <a:solidFill>
              <a:srgbClr val="FFFFFF">
                <a:lumMod val="85000"/>
              </a:srgbClr>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B9FB87FD-3DB6-A7F0-C185-4174FCB17DCE}"/>
              </a:ext>
            </a:extLst>
          </p:cNvPr>
          <p:cNvCxnSpPr>
            <a:cxnSpLocks/>
          </p:cNvCxnSpPr>
          <p:nvPr/>
        </p:nvCxnSpPr>
        <p:spPr>
          <a:xfrm>
            <a:off x="7492808" y="5138220"/>
            <a:ext cx="4116577" cy="0"/>
          </a:xfrm>
          <a:prstGeom prst="line">
            <a:avLst/>
          </a:prstGeom>
          <a:noFill/>
          <a:ln w="9525" cap="flat" cmpd="sng" algn="ctr">
            <a:solidFill>
              <a:srgbClr val="FFFFFF">
                <a:lumMod val="85000"/>
              </a:srgbClr>
            </a:solidFill>
            <a:prstDash val="solid"/>
            <a:headEnd type="none" w="lg" len="med"/>
            <a:tailEnd type="none" w="lg" len="med"/>
          </a:ln>
          <a:effectLst/>
        </p:spPr>
      </p:cxnSp>
      <p:sp>
        <p:nvSpPr>
          <p:cNvPr id="13" name="Cylinder 22">
            <a:extLst>
              <a:ext uri="{FF2B5EF4-FFF2-40B4-BE49-F238E27FC236}">
                <a16:creationId xmlns:a16="http://schemas.microsoft.com/office/drawing/2014/main" id="{E44B1C2F-BF04-6AA2-4A85-4420C4ED9BCA}"/>
              </a:ext>
            </a:extLst>
          </p:cNvPr>
          <p:cNvSpPr/>
          <p:nvPr/>
        </p:nvSpPr>
        <p:spPr bwMode="auto">
          <a:xfrm>
            <a:off x="1214990"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14" name="Cylinder 88">
            <a:extLst>
              <a:ext uri="{FF2B5EF4-FFF2-40B4-BE49-F238E27FC236}">
                <a16:creationId xmlns:a16="http://schemas.microsoft.com/office/drawing/2014/main" id="{2B30C4D2-B7A7-586C-1D0C-A142464CC277}"/>
              </a:ext>
            </a:extLst>
          </p:cNvPr>
          <p:cNvSpPr/>
          <p:nvPr/>
        </p:nvSpPr>
        <p:spPr bwMode="auto">
          <a:xfrm>
            <a:off x="2022470"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15" name="Cylinder 89">
            <a:extLst>
              <a:ext uri="{FF2B5EF4-FFF2-40B4-BE49-F238E27FC236}">
                <a16:creationId xmlns:a16="http://schemas.microsoft.com/office/drawing/2014/main" id="{6E98036D-3ADA-B3FF-3327-6430CE0EA3D8}"/>
              </a:ext>
            </a:extLst>
          </p:cNvPr>
          <p:cNvSpPr/>
          <p:nvPr/>
        </p:nvSpPr>
        <p:spPr bwMode="auto">
          <a:xfrm>
            <a:off x="5107454"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16" name="Cylinder 91">
            <a:extLst>
              <a:ext uri="{FF2B5EF4-FFF2-40B4-BE49-F238E27FC236}">
                <a16:creationId xmlns:a16="http://schemas.microsoft.com/office/drawing/2014/main" id="{41EA7C4E-E19C-1308-C99D-9060BB9AD8F2}"/>
              </a:ext>
            </a:extLst>
          </p:cNvPr>
          <p:cNvSpPr/>
          <p:nvPr/>
        </p:nvSpPr>
        <p:spPr bwMode="auto">
          <a:xfrm>
            <a:off x="5924899" y="3614772"/>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grpSp>
        <p:nvGrpSpPr>
          <p:cNvPr id="17" name="Group 16">
            <a:extLst>
              <a:ext uri="{FF2B5EF4-FFF2-40B4-BE49-F238E27FC236}">
                <a16:creationId xmlns:a16="http://schemas.microsoft.com/office/drawing/2014/main" id="{68F20EBF-9109-3D46-2CC5-72402EF34FB3}"/>
              </a:ext>
            </a:extLst>
          </p:cNvPr>
          <p:cNvGrpSpPr/>
          <p:nvPr/>
        </p:nvGrpSpPr>
        <p:grpSpPr>
          <a:xfrm>
            <a:off x="998539" y="4376543"/>
            <a:ext cx="5862832" cy="1187977"/>
            <a:chOff x="998539" y="3997499"/>
            <a:chExt cx="5862832" cy="1187977"/>
          </a:xfrm>
        </p:grpSpPr>
        <p:sp>
          <p:nvSpPr>
            <p:cNvPr id="18" name="Rounded Rectangle 81">
              <a:extLst>
                <a:ext uri="{FF2B5EF4-FFF2-40B4-BE49-F238E27FC236}">
                  <a16:creationId xmlns:a16="http://schemas.microsoft.com/office/drawing/2014/main" id="{A21FCF75-4BAF-CBC3-A59C-8498E155227E}"/>
                </a:ext>
              </a:extLst>
            </p:cNvPr>
            <p:cNvSpPr/>
            <p:nvPr/>
          </p:nvSpPr>
          <p:spPr bwMode="auto">
            <a:xfrm>
              <a:off x="360007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19" name="Rounded Rectangle 82">
              <a:extLst>
                <a:ext uri="{FF2B5EF4-FFF2-40B4-BE49-F238E27FC236}">
                  <a16:creationId xmlns:a16="http://schemas.microsoft.com/office/drawing/2014/main" id="{8D52B766-AA53-4A06-4C0D-AD910082B2C9}"/>
                </a:ext>
              </a:extLst>
            </p:cNvPr>
            <p:cNvSpPr/>
            <p:nvPr/>
          </p:nvSpPr>
          <p:spPr bwMode="auto">
            <a:xfrm>
              <a:off x="527983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20" name="Rounded Rectangle 76">
              <a:extLst>
                <a:ext uri="{FF2B5EF4-FFF2-40B4-BE49-F238E27FC236}">
                  <a16:creationId xmlns:a16="http://schemas.microsoft.com/office/drawing/2014/main" id="{D4384CA1-7A5E-027F-F3E5-23B87C648357}"/>
                </a:ext>
              </a:extLst>
            </p:cNvPr>
            <p:cNvSpPr/>
            <p:nvPr/>
          </p:nvSpPr>
          <p:spPr bwMode="auto">
            <a:xfrm>
              <a:off x="998539" y="4305277"/>
              <a:ext cx="2511386"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cxnSp>
          <p:nvCxnSpPr>
            <p:cNvPr id="21" name="Straight Connector 20">
              <a:extLst>
                <a:ext uri="{FF2B5EF4-FFF2-40B4-BE49-F238E27FC236}">
                  <a16:creationId xmlns:a16="http://schemas.microsoft.com/office/drawing/2014/main" id="{62589BB2-97DB-1EE3-54A8-6894F5819058}"/>
                </a:ext>
              </a:extLst>
            </p:cNvPr>
            <p:cNvCxnSpPr>
              <a:cxnSpLocks/>
            </p:cNvCxnSpPr>
            <p:nvPr/>
          </p:nvCxnSpPr>
          <p:spPr>
            <a:xfrm flipV="1">
              <a:off x="42136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2" name="Straight Connector 21">
              <a:extLst>
                <a:ext uri="{FF2B5EF4-FFF2-40B4-BE49-F238E27FC236}">
                  <a16:creationId xmlns:a16="http://schemas.microsoft.com/office/drawing/2014/main" id="{126677C2-8F27-75ED-8B6E-AC5B82C5F95F}"/>
                </a:ext>
              </a:extLst>
            </p:cNvPr>
            <p:cNvCxnSpPr>
              <a:cxnSpLocks/>
            </p:cNvCxnSpPr>
            <p:nvPr/>
          </p:nvCxnSpPr>
          <p:spPr>
            <a:xfrm flipV="1">
              <a:off x="2437345"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3" name="Straight Connector 22">
              <a:extLst>
                <a:ext uri="{FF2B5EF4-FFF2-40B4-BE49-F238E27FC236}">
                  <a16:creationId xmlns:a16="http://schemas.microsoft.com/office/drawing/2014/main" id="{5F908575-AB30-DC13-A28F-324854771FA3}"/>
                </a:ext>
              </a:extLst>
            </p:cNvPr>
            <p:cNvCxnSpPr>
              <a:cxnSpLocks/>
            </p:cNvCxnSpPr>
            <p:nvPr/>
          </p:nvCxnSpPr>
          <p:spPr>
            <a:xfrm flipV="1">
              <a:off x="5889459"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4" name="Straight Connector 23">
              <a:extLst>
                <a:ext uri="{FF2B5EF4-FFF2-40B4-BE49-F238E27FC236}">
                  <a16:creationId xmlns:a16="http://schemas.microsoft.com/office/drawing/2014/main" id="{E0605A71-36D7-C857-7413-47076C041D1F}"/>
                </a:ext>
              </a:extLst>
            </p:cNvPr>
            <p:cNvCxnSpPr>
              <a:cxnSpLocks/>
            </p:cNvCxnSpPr>
            <p:nvPr/>
          </p:nvCxnSpPr>
          <p:spPr>
            <a:xfrm flipV="1">
              <a:off x="1329784"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5" name="Straight Connector 24">
              <a:extLst>
                <a:ext uri="{FF2B5EF4-FFF2-40B4-BE49-F238E27FC236}">
                  <a16:creationId xmlns:a16="http://schemas.microsoft.com/office/drawing/2014/main" id="{0B0E7929-FAC0-C0CC-8B66-E2594FB3B6AC}"/>
                </a:ext>
              </a:extLst>
            </p:cNvPr>
            <p:cNvCxnSpPr>
              <a:cxnSpLocks/>
            </p:cNvCxnSpPr>
            <p:nvPr/>
          </p:nvCxnSpPr>
          <p:spPr>
            <a:xfrm flipV="1">
              <a:off x="1698971"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6" name="Straight Connector 25">
              <a:extLst>
                <a:ext uri="{FF2B5EF4-FFF2-40B4-BE49-F238E27FC236}">
                  <a16:creationId xmlns:a16="http://schemas.microsoft.com/office/drawing/2014/main" id="{275D670E-EB8D-51A3-7751-E79E1C84EF7A}"/>
                </a:ext>
              </a:extLst>
            </p:cNvPr>
            <p:cNvCxnSpPr>
              <a:cxnSpLocks/>
            </p:cNvCxnSpPr>
            <p:nvPr/>
          </p:nvCxnSpPr>
          <p:spPr>
            <a:xfrm flipV="1">
              <a:off x="2068158"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7" name="Straight Connector 26">
              <a:extLst>
                <a:ext uri="{FF2B5EF4-FFF2-40B4-BE49-F238E27FC236}">
                  <a16:creationId xmlns:a16="http://schemas.microsoft.com/office/drawing/2014/main" id="{FDA023BB-A02D-0CE1-4C86-DD52E3CFAD01}"/>
                </a:ext>
              </a:extLst>
            </p:cNvPr>
            <p:cNvCxnSpPr>
              <a:cxnSpLocks/>
            </p:cNvCxnSpPr>
            <p:nvPr/>
          </p:nvCxnSpPr>
          <p:spPr>
            <a:xfrm flipV="1">
              <a:off x="28065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8" name="Straight Connector 27">
              <a:extLst>
                <a:ext uri="{FF2B5EF4-FFF2-40B4-BE49-F238E27FC236}">
                  <a16:creationId xmlns:a16="http://schemas.microsoft.com/office/drawing/2014/main" id="{181D7DA8-3151-6907-FE75-941560F6BC96}"/>
                </a:ext>
              </a:extLst>
            </p:cNvPr>
            <p:cNvCxnSpPr>
              <a:cxnSpLocks/>
            </p:cNvCxnSpPr>
            <p:nvPr/>
          </p:nvCxnSpPr>
          <p:spPr>
            <a:xfrm flipV="1">
              <a:off x="317572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9" name="Straight Connector 28">
              <a:extLst>
                <a:ext uri="{FF2B5EF4-FFF2-40B4-BE49-F238E27FC236}">
                  <a16:creationId xmlns:a16="http://schemas.microsoft.com/office/drawing/2014/main" id="{6D027DC4-3E05-02A7-F445-09625B79AEC5}"/>
                </a:ext>
              </a:extLst>
            </p:cNvPr>
            <p:cNvCxnSpPr>
              <a:cxnSpLocks/>
            </p:cNvCxnSpPr>
            <p:nvPr/>
          </p:nvCxnSpPr>
          <p:spPr>
            <a:xfrm flipV="1">
              <a:off x="457514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30" name="Straight Connector 29">
              <a:extLst>
                <a:ext uri="{FF2B5EF4-FFF2-40B4-BE49-F238E27FC236}">
                  <a16:creationId xmlns:a16="http://schemas.microsoft.com/office/drawing/2014/main" id="{02BCC744-B3FB-B514-4839-ACD5EAEF37F0}"/>
                </a:ext>
              </a:extLst>
            </p:cNvPr>
            <p:cNvCxnSpPr>
              <a:cxnSpLocks/>
            </p:cNvCxnSpPr>
            <p:nvPr/>
          </p:nvCxnSpPr>
          <p:spPr>
            <a:xfrm flipV="1">
              <a:off x="6241967" y="3997499"/>
              <a:ext cx="0" cy="307778"/>
            </a:xfrm>
            <a:prstGeom prst="line">
              <a:avLst/>
            </a:prstGeom>
            <a:noFill/>
            <a:ln w="6350" cap="flat" cmpd="sng" algn="ctr">
              <a:solidFill>
                <a:srgbClr val="FFFFFF"/>
              </a:solidFill>
              <a:prstDash val="dash"/>
              <a:headEnd type="none" w="lg" len="med"/>
              <a:tailEnd type="triangle" w="med" len="med"/>
            </a:ln>
            <a:effectLst/>
          </p:spPr>
        </p:cxnSp>
      </p:grpSp>
      <p:grpSp>
        <p:nvGrpSpPr>
          <p:cNvPr id="31" name="Group 30">
            <a:extLst>
              <a:ext uri="{FF2B5EF4-FFF2-40B4-BE49-F238E27FC236}">
                <a16:creationId xmlns:a16="http://schemas.microsoft.com/office/drawing/2014/main" id="{6B46D054-399C-6A57-C834-C640B32C4AC4}"/>
              </a:ext>
            </a:extLst>
          </p:cNvPr>
          <p:cNvGrpSpPr/>
          <p:nvPr/>
        </p:nvGrpSpPr>
        <p:grpSpPr>
          <a:xfrm>
            <a:off x="1180024" y="4832154"/>
            <a:ext cx="5689421" cy="594511"/>
            <a:chOff x="1180024" y="4453110"/>
            <a:chExt cx="5689421" cy="594511"/>
          </a:xfrm>
        </p:grpSpPr>
        <p:grpSp>
          <p:nvGrpSpPr>
            <p:cNvPr id="32" name="Group 31">
              <a:extLst>
                <a:ext uri="{FF2B5EF4-FFF2-40B4-BE49-F238E27FC236}">
                  <a16:creationId xmlns:a16="http://schemas.microsoft.com/office/drawing/2014/main" id="{7BAC1082-A793-7991-72AD-B65F10781B4C}"/>
                </a:ext>
              </a:extLst>
            </p:cNvPr>
            <p:cNvGrpSpPr/>
            <p:nvPr/>
          </p:nvGrpSpPr>
          <p:grpSpPr>
            <a:xfrm>
              <a:off x="4046551" y="4453110"/>
              <a:ext cx="688580" cy="342450"/>
              <a:chOff x="3429012" y="4362864"/>
              <a:chExt cx="688580" cy="342450"/>
            </a:xfrm>
          </p:grpSpPr>
          <p:pic>
            <p:nvPicPr>
              <p:cNvPr id="46" name="Picture 45">
                <a:extLst>
                  <a:ext uri="{FF2B5EF4-FFF2-40B4-BE49-F238E27FC236}">
                    <a16:creationId xmlns:a16="http://schemas.microsoft.com/office/drawing/2014/main" id="{560C975E-22C8-905B-950D-05947C1EEBF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429012" y="4362864"/>
                <a:ext cx="310487" cy="342450"/>
              </a:xfrm>
              <a:prstGeom prst="rect">
                <a:avLst/>
              </a:prstGeom>
            </p:spPr>
          </p:pic>
          <p:pic>
            <p:nvPicPr>
              <p:cNvPr id="47" name="Picture 46">
                <a:extLst>
                  <a:ext uri="{FF2B5EF4-FFF2-40B4-BE49-F238E27FC236}">
                    <a16:creationId xmlns:a16="http://schemas.microsoft.com/office/drawing/2014/main" id="{12922A63-A3AB-B1A7-5213-F98A0F05C20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07105" y="4362864"/>
                <a:ext cx="310487" cy="342450"/>
              </a:xfrm>
              <a:prstGeom prst="rect">
                <a:avLst/>
              </a:prstGeom>
            </p:spPr>
          </p:pic>
        </p:grpSp>
        <p:sp>
          <p:nvSpPr>
            <p:cNvPr id="33" name="TextBox 32">
              <a:extLst>
                <a:ext uri="{FF2B5EF4-FFF2-40B4-BE49-F238E27FC236}">
                  <a16:creationId xmlns:a16="http://schemas.microsoft.com/office/drawing/2014/main" id="{19A845AB-2015-F427-3C5A-63A9BE0AFB22}"/>
                </a:ext>
              </a:extLst>
            </p:cNvPr>
            <p:cNvSpPr txBox="1"/>
            <p:nvPr/>
          </p:nvSpPr>
          <p:spPr>
            <a:xfrm>
              <a:off x="359199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mazon</a:t>
              </a:r>
            </a:p>
          </p:txBody>
        </p:sp>
        <p:grpSp>
          <p:nvGrpSpPr>
            <p:cNvPr id="34" name="Group 33">
              <a:extLst>
                <a:ext uri="{FF2B5EF4-FFF2-40B4-BE49-F238E27FC236}">
                  <a16:creationId xmlns:a16="http://schemas.microsoft.com/office/drawing/2014/main" id="{97CB84E5-99C0-AC41-22D3-F01D809E80CE}"/>
                </a:ext>
              </a:extLst>
            </p:cNvPr>
            <p:cNvGrpSpPr/>
            <p:nvPr/>
          </p:nvGrpSpPr>
          <p:grpSpPr>
            <a:xfrm>
              <a:off x="5753092" y="4481948"/>
              <a:ext cx="635018" cy="284774"/>
              <a:chOff x="4185198" y="4391702"/>
              <a:chExt cx="635018" cy="284774"/>
            </a:xfrm>
          </p:grpSpPr>
          <p:pic>
            <p:nvPicPr>
              <p:cNvPr id="44" name="Picture 43">
                <a:extLst>
                  <a:ext uri="{FF2B5EF4-FFF2-40B4-BE49-F238E27FC236}">
                    <a16:creationId xmlns:a16="http://schemas.microsoft.com/office/drawing/2014/main" id="{D12C820A-5774-1953-BC10-2DC84BADB39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85198" y="4391702"/>
                <a:ext cx="283707" cy="284774"/>
              </a:xfrm>
              <a:prstGeom prst="rect">
                <a:avLst/>
              </a:prstGeom>
            </p:spPr>
          </p:pic>
          <p:pic>
            <p:nvPicPr>
              <p:cNvPr id="45" name="Picture 44">
                <a:extLst>
                  <a:ext uri="{FF2B5EF4-FFF2-40B4-BE49-F238E27FC236}">
                    <a16:creationId xmlns:a16="http://schemas.microsoft.com/office/drawing/2014/main" id="{1014FB8A-D2A5-A7CB-C6AC-AB272DBF87C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36509" y="4391702"/>
                <a:ext cx="283707" cy="284774"/>
              </a:xfrm>
              <a:prstGeom prst="rect">
                <a:avLst/>
              </a:prstGeom>
            </p:spPr>
          </p:pic>
        </p:grpSp>
        <p:sp>
          <p:nvSpPr>
            <p:cNvPr id="35" name="TextBox 34">
              <a:extLst>
                <a:ext uri="{FF2B5EF4-FFF2-40B4-BE49-F238E27FC236}">
                  <a16:creationId xmlns:a16="http://schemas.microsoft.com/office/drawing/2014/main" id="{CF4C6FD2-16A8-27E8-B213-0DD45A0C017D}"/>
                </a:ext>
              </a:extLst>
            </p:cNvPr>
            <p:cNvSpPr txBox="1"/>
            <p:nvPr/>
          </p:nvSpPr>
          <p:spPr>
            <a:xfrm>
              <a:off x="527175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Google</a:t>
              </a:r>
            </a:p>
          </p:txBody>
        </p:sp>
        <p:sp>
          <p:nvSpPr>
            <p:cNvPr id="36" name="TextBox 35">
              <a:extLst>
                <a:ext uri="{FF2B5EF4-FFF2-40B4-BE49-F238E27FC236}">
                  <a16:creationId xmlns:a16="http://schemas.microsoft.com/office/drawing/2014/main" id="{4568F423-F9F4-1519-A9E1-CCE5D06C9684}"/>
                </a:ext>
              </a:extLst>
            </p:cNvPr>
            <p:cNvSpPr txBox="1"/>
            <p:nvPr/>
          </p:nvSpPr>
          <p:spPr>
            <a:xfrm>
              <a:off x="1455388"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zure</a:t>
              </a:r>
            </a:p>
          </p:txBody>
        </p:sp>
        <p:grpSp>
          <p:nvGrpSpPr>
            <p:cNvPr id="37" name="Group 36">
              <a:extLst>
                <a:ext uri="{FF2B5EF4-FFF2-40B4-BE49-F238E27FC236}">
                  <a16:creationId xmlns:a16="http://schemas.microsoft.com/office/drawing/2014/main" id="{0D417C02-F266-15A2-CBC9-012AA1C63062}"/>
                </a:ext>
              </a:extLst>
            </p:cNvPr>
            <p:cNvGrpSpPr/>
            <p:nvPr/>
          </p:nvGrpSpPr>
          <p:grpSpPr>
            <a:xfrm>
              <a:off x="1180024" y="4453110"/>
              <a:ext cx="2148416" cy="342450"/>
              <a:chOff x="1212990" y="4362864"/>
              <a:chExt cx="2148416" cy="342450"/>
            </a:xfrm>
          </p:grpSpPr>
          <p:pic>
            <p:nvPicPr>
              <p:cNvPr id="38" name="Picture 37" descr="Icon&#10;&#10;Description automatically generated">
                <a:extLst>
                  <a:ext uri="{FF2B5EF4-FFF2-40B4-BE49-F238E27FC236}">
                    <a16:creationId xmlns:a16="http://schemas.microsoft.com/office/drawing/2014/main" id="{3D6C7B46-F69C-FC45-16BA-FE95EECADABD}"/>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321001" y="4362864"/>
                <a:ext cx="301731" cy="342450"/>
              </a:xfrm>
              <a:prstGeom prst="rect">
                <a:avLst/>
              </a:prstGeom>
            </p:spPr>
          </p:pic>
          <p:pic>
            <p:nvPicPr>
              <p:cNvPr id="39" name="Picture 38" descr="Icon&#10;&#10;Description automatically generated">
                <a:extLst>
                  <a:ext uri="{FF2B5EF4-FFF2-40B4-BE49-F238E27FC236}">
                    <a16:creationId xmlns:a16="http://schemas.microsoft.com/office/drawing/2014/main" id="{3E4299DB-EA43-7418-4A54-5C6310623812}"/>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690338" y="4362864"/>
                <a:ext cx="301731" cy="342450"/>
              </a:xfrm>
              <a:prstGeom prst="rect">
                <a:avLst/>
              </a:prstGeom>
            </p:spPr>
          </p:pic>
          <p:pic>
            <p:nvPicPr>
              <p:cNvPr id="40" name="Picture 39" descr="Icon&#10;&#10;Description automatically generated">
                <a:extLst>
                  <a:ext uri="{FF2B5EF4-FFF2-40B4-BE49-F238E27FC236}">
                    <a16:creationId xmlns:a16="http://schemas.microsoft.com/office/drawing/2014/main" id="{0605BEEB-CFE4-251C-9FF1-4B5844FA38DE}"/>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3059675" y="4362864"/>
                <a:ext cx="301731" cy="342450"/>
              </a:xfrm>
              <a:prstGeom prst="rect">
                <a:avLst/>
              </a:prstGeom>
            </p:spPr>
          </p:pic>
          <p:pic>
            <p:nvPicPr>
              <p:cNvPr id="41" name="Picture 40" descr="Icon&#10;&#10;Description automatically generated">
                <a:extLst>
                  <a:ext uri="{FF2B5EF4-FFF2-40B4-BE49-F238E27FC236}">
                    <a16:creationId xmlns:a16="http://schemas.microsoft.com/office/drawing/2014/main" id="{3D2B32CB-C92D-120D-A2AD-79B85897C5B2}"/>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212990" y="4362864"/>
                <a:ext cx="301731" cy="342450"/>
              </a:xfrm>
              <a:prstGeom prst="rect">
                <a:avLst/>
              </a:prstGeom>
            </p:spPr>
          </p:pic>
          <p:pic>
            <p:nvPicPr>
              <p:cNvPr id="42" name="Picture 41" descr="Icon&#10;&#10;Description automatically generated">
                <a:extLst>
                  <a:ext uri="{FF2B5EF4-FFF2-40B4-BE49-F238E27FC236}">
                    <a16:creationId xmlns:a16="http://schemas.microsoft.com/office/drawing/2014/main" id="{44113B37-53C7-35A1-C217-85687AA2D7BC}"/>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582327" y="4362864"/>
                <a:ext cx="301731" cy="342450"/>
              </a:xfrm>
              <a:prstGeom prst="rect">
                <a:avLst/>
              </a:prstGeom>
            </p:spPr>
          </p:pic>
          <p:pic>
            <p:nvPicPr>
              <p:cNvPr id="43" name="Picture 42" descr="Icon&#10;&#10;Description automatically generated">
                <a:extLst>
                  <a:ext uri="{FF2B5EF4-FFF2-40B4-BE49-F238E27FC236}">
                    <a16:creationId xmlns:a16="http://schemas.microsoft.com/office/drawing/2014/main" id="{01604780-3E61-5737-FC03-57EE10FF070B}"/>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951664" y="4362864"/>
                <a:ext cx="301731" cy="342450"/>
              </a:xfrm>
              <a:prstGeom prst="rect">
                <a:avLst/>
              </a:prstGeom>
            </p:spPr>
          </p:pic>
        </p:grpSp>
      </p:grpSp>
      <p:sp>
        <p:nvSpPr>
          <p:cNvPr id="48" name="Arc 47">
            <a:extLst>
              <a:ext uri="{FF2B5EF4-FFF2-40B4-BE49-F238E27FC236}">
                <a16:creationId xmlns:a16="http://schemas.microsoft.com/office/drawing/2014/main" id="{633671E8-4E67-0035-DE30-F9D67AA1C13C}"/>
              </a:ext>
            </a:extLst>
          </p:cNvPr>
          <p:cNvSpPr/>
          <p:nvPr/>
        </p:nvSpPr>
        <p:spPr>
          <a:xfrm>
            <a:off x="1576156" y="3285227"/>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9" name="Arc 48">
            <a:extLst>
              <a:ext uri="{FF2B5EF4-FFF2-40B4-BE49-F238E27FC236}">
                <a16:creationId xmlns:a16="http://schemas.microsoft.com/office/drawing/2014/main" id="{3B33C88B-A2FF-7960-E1EA-3C4B459F82C0}"/>
              </a:ext>
            </a:extLst>
          </p:cNvPr>
          <p:cNvSpPr/>
          <p:nvPr/>
        </p:nvSpPr>
        <p:spPr>
          <a:xfrm>
            <a:off x="5474846" y="3270163"/>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0" name="Rounded Rectangle 14">
            <a:extLst>
              <a:ext uri="{FF2B5EF4-FFF2-40B4-BE49-F238E27FC236}">
                <a16:creationId xmlns:a16="http://schemas.microsoft.com/office/drawing/2014/main" id="{DF0C3A81-D1ED-C5D0-0080-1DEF6749A054}"/>
              </a:ext>
            </a:extLst>
          </p:cNvPr>
          <p:cNvSpPr/>
          <p:nvPr/>
        </p:nvSpPr>
        <p:spPr>
          <a:xfrm>
            <a:off x="888624"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51" name="Rounded Rectangle 15">
            <a:extLst>
              <a:ext uri="{FF2B5EF4-FFF2-40B4-BE49-F238E27FC236}">
                <a16:creationId xmlns:a16="http://schemas.microsoft.com/office/drawing/2014/main" id="{778AF20C-EA7A-2D88-C739-864E4B7A2154}"/>
              </a:ext>
            </a:extLst>
          </p:cNvPr>
          <p:cNvSpPr/>
          <p:nvPr/>
        </p:nvSpPr>
        <p:spPr>
          <a:xfrm>
            <a:off x="1917996"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52" name="Rounded Rectangle 16">
            <a:extLst>
              <a:ext uri="{FF2B5EF4-FFF2-40B4-BE49-F238E27FC236}">
                <a16:creationId xmlns:a16="http://schemas.microsoft.com/office/drawing/2014/main" id="{861D257E-D1EC-60BB-9A8B-815702F40D26}"/>
              </a:ext>
            </a:extLst>
          </p:cNvPr>
          <p:cNvSpPr/>
          <p:nvPr/>
        </p:nvSpPr>
        <p:spPr>
          <a:xfrm>
            <a:off x="2947368"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53" name="Rounded Rectangle 17">
            <a:extLst>
              <a:ext uri="{FF2B5EF4-FFF2-40B4-BE49-F238E27FC236}">
                <a16:creationId xmlns:a16="http://schemas.microsoft.com/office/drawing/2014/main" id="{95F33573-8618-9467-5670-A5AC0D73B08A}"/>
              </a:ext>
            </a:extLst>
          </p:cNvPr>
          <p:cNvSpPr/>
          <p:nvPr/>
        </p:nvSpPr>
        <p:spPr>
          <a:xfrm>
            <a:off x="397674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54" name="Rounded Rectangle 18">
            <a:extLst>
              <a:ext uri="{FF2B5EF4-FFF2-40B4-BE49-F238E27FC236}">
                <a16:creationId xmlns:a16="http://schemas.microsoft.com/office/drawing/2014/main" id="{36A17800-3933-A39D-879A-24630353614A}"/>
              </a:ext>
            </a:extLst>
          </p:cNvPr>
          <p:cNvSpPr/>
          <p:nvPr/>
        </p:nvSpPr>
        <p:spPr>
          <a:xfrm>
            <a:off x="5006112"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55" name="Rounded Rectangle 19">
            <a:extLst>
              <a:ext uri="{FF2B5EF4-FFF2-40B4-BE49-F238E27FC236}">
                <a16:creationId xmlns:a16="http://schemas.microsoft.com/office/drawing/2014/main" id="{40AC9383-6700-E911-7211-CA3187DC9F8B}"/>
              </a:ext>
            </a:extLst>
          </p:cNvPr>
          <p:cNvSpPr/>
          <p:nvPr/>
        </p:nvSpPr>
        <p:spPr>
          <a:xfrm>
            <a:off x="6035730" y="2156355"/>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spTree>
    <p:extLst>
      <p:ext uri="{BB962C8B-B14F-4D97-AF65-F5344CB8AC3E}">
        <p14:creationId xmlns:p14="http://schemas.microsoft.com/office/powerpoint/2010/main" val="3429298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right)">
                                      <p:cBhvr>
                                        <p:cTn id="7" dur="1000"/>
                                        <p:tgtEl>
                                          <p:spTgt spid="48"/>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right)">
                                      <p:cBhvr>
                                        <p:cTn id="10" dur="10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down)">
                                      <p:cBhvr>
                                        <p:cTn id="15" dur="1000"/>
                                        <p:tgtEl>
                                          <p:spTgt spid="17"/>
                                        </p:tgtEl>
                                      </p:cBhvr>
                                    </p:animEffect>
                                  </p:childTnLst>
                                </p:cTn>
                              </p:par>
                              <p:par>
                                <p:cTn id="16" presetID="10" presetClass="entr" presetSubtype="0" fill="hold" nodeType="withEffect">
                                  <p:stCondLst>
                                    <p:cond delay="20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1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15614DB6-524F-A9B7-AD69-21A3E198BE95}"/>
              </a:ext>
            </a:extLst>
          </p:cNvPr>
          <p:cNvSpPr txBox="1">
            <a:spLocks/>
          </p:cNvSpPr>
          <p:nvPr/>
        </p:nvSpPr>
        <p:spPr>
          <a:xfrm>
            <a:off x="293686" y="286673"/>
            <a:ext cx="11604625" cy="553998"/>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j-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j-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err="1"/>
              <a:t>OneLake</a:t>
            </a:r>
            <a:r>
              <a:rPr lang="en-US" dirty="0"/>
              <a:t> working with both files and tables</a:t>
            </a:r>
          </a:p>
        </p:txBody>
      </p:sp>
      <p:pic>
        <p:nvPicPr>
          <p:cNvPr id="7" name="Picture 6">
            <a:extLst>
              <a:ext uri="{FF2B5EF4-FFF2-40B4-BE49-F238E27FC236}">
                <a16:creationId xmlns:a16="http://schemas.microsoft.com/office/drawing/2014/main" id="{9C799956-8274-9803-E8AC-BBA491105486}"/>
              </a:ext>
            </a:extLst>
          </p:cNvPr>
          <p:cNvPicPr>
            <a:picLocks noChangeAspect="1"/>
          </p:cNvPicPr>
          <p:nvPr/>
        </p:nvPicPr>
        <p:blipFill>
          <a:blip r:embed="rId2"/>
          <a:stretch>
            <a:fillRect/>
          </a:stretch>
        </p:blipFill>
        <p:spPr>
          <a:xfrm>
            <a:off x="3588800" y="1174220"/>
            <a:ext cx="5014395" cy="5082980"/>
          </a:xfrm>
          <a:prstGeom prst="rect">
            <a:avLst/>
          </a:prstGeom>
        </p:spPr>
      </p:pic>
      <p:pic>
        <p:nvPicPr>
          <p:cNvPr id="8" name="Picture 2">
            <a:extLst>
              <a:ext uri="{FF2B5EF4-FFF2-40B4-BE49-F238E27FC236}">
                <a16:creationId xmlns:a16="http://schemas.microsoft.com/office/drawing/2014/main" id="{6700D98A-E75F-263B-632B-5DEA7C807C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213" y="1174220"/>
            <a:ext cx="958492" cy="958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6753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engineering</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900616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A8E6BEB-F515-9676-E266-3B6989058F37}"/>
              </a:ext>
            </a:extLst>
          </p:cNvPr>
          <p:cNvPicPr>
            <a:picLocks noChangeAspect="1"/>
          </p:cNvPicPr>
          <p:nvPr/>
        </p:nvPicPr>
        <p:blipFill>
          <a:blip r:embed="rId3"/>
          <a:srcRect/>
          <a:stretch/>
        </p:blipFill>
        <p:spPr>
          <a:xfrm>
            <a:off x="1045028" y="718905"/>
            <a:ext cx="8488422" cy="4774087"/>
          </a:xfrm>
          <a:prstGeom prst="rect">
            <a:avLst/>
          </a:prstGeom>
        </p:spPr>
      </p:pic>
      <p:sp>
        <p:nvSpPr>
          <p:cNvPr id="7" name="Title 6">
            <a:extLst>
              <a:ext uri="{FF2B5EF4-FFF2-40B4-BE49-F238E27FC236}">
                <a16:creationId xmlns:a16="http://schemas.microsoft.com/office/drawing/2014/main" id="{C12A484C-4D09-195C-363F-9A6FDA59FAE1}"/>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Data Engineering</a:t>
            </a:r>
          </a:p>
        </p:txBody>
      </p:sp>
      <p:pic>
        <p:nvPicPr>
          <p:cNvPr id="10" name="Picture 9">
            <a:extLst>
              <a:ext uri="{FF2B5EF4-FFF2-40B4-BE49-F238E27FC236}">
                <a16:creationId xmlns:a16="http://schemas.microsoft.com/office/drawing/2014/main" id="{2F153B2C-F762-E3BB-07C7-F4886748E0E0}"/>
              </a:ext>
            </a:extLst>
          </p:cNvPr>
          <p:cNvPicPr>
            <a:picLocks noChangeAspect="1"/>
          </p:cNvPicPr>
          <p:nvPr/>
        </p:nvPicPr>
        <p:blipFill>
          <a:blip r:embed="rId4"/>
          <a:stretch>
            <a:fillRect/>
          </a:stretch>
        </p:blipFill>
        <p:spPr>
          <a:xfrm>
            <a:off x="1919752" y="1705583"/>
            <a:ext cx="7887383" cy="4107536"/>
          </a:xfrm>
          <a:prstGeom prst="rect">
            <a:avLst/>
          </a:prstGeom>
        </p:spPr>
      </p:pic>
      <p:pic>
        <p:nvPicPr>
          <p:cNvPr id="8" name="Picture 4">
            <a:extLst>
              <a:ext uri="{FF2B5EF4-FFF2-40B4-BE49-F238E27FC236}">
                <a16:creationId xmlns:a16="http://schemas.microsoft.com/office/drawing/2014/main" id="{437F43A7-0F28-5276-294E-53A6E25468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2239" y="2011111"/>
            <a:ext cx="8325451" cy="4681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0743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726F60C-9956-DB47-1E9E-B0E5A0091373}"/>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Shortcuts</a:t>
            </a:r>
          </a:p>
        </p:txBody>
      </p:sp>
      <p:pic>
        <p:nvPicPr>
          <p:cNvPr id="6" name="Picture 5">
            <a:extLst>
              <a:ext uri="{FF2B5EF4-FFF2-40B4-BE49-F238E27FC236}">
                <a16:creationId xmlns:a16="http://schemas.microsoft.com/office/drawing/2014/main" id="{F1D07062-1124-B682-A9D6-AD47F977D735}"/>
              </a:ext>
            </a:extLst>
          </p:cNvPr>
          <p:cNvPicPr>
            <a:picLocks noChangeAspect="1"/>
          </p:cNvPicPr>
          <p:nvPr/>
        </p:nvPicPr>
        <p:blipFill>
          <a:blip r:embed="rId2"/>
          <a:stretch>
            <a:fillRect/>
          </a:stretch>
        </p:blipFill>
        <p:spPr>
          <a:xfrm>
            <a:off x="984762" y="1007284"/>
            <a:ext cx="7498730" cy="4084674"/>
          </a:xfrm>
          <a:prstGeom prst="rect">
            <a:avLst/>
          </a:prstGeom>
        </p:spPr>
      </p:pic>
      <p:pic>
        <p:nvPicPr>
          <p:cNvPr id="8" name="Picture 7">
            <a:extLst>
              <a:ext uri="{FF2B5EF4-FFF2-40B4-BE49-F238E27FC236}">
                <a16:creationId xmlns:a16="http://schemas.microsoft.com/office/drawing/2014/main" id="{3D57C5AA-B8D3-21BE-52EA-89CD30CC91AA}"/>
              </a:ext>
            </a:extLst>
          </p:cNvPr>
          <p:cNvPicPr>
            <a:picLocks noChangeAspect="1"/>
          </p:cNvPicPr>
          <p:nvPr/>
        </p:nvPicPr>
        <p:blipFill>
          <a:blip r:embed="rId3"/>
          <a:stretch>
            <a:fillRect/>
          </a:stretch>
        </p:blipFill>
        <p:spPr>
          <a:xfrm>
            <a:off x="5928133" y="2675628"/>
            <a:ext cx="5681253" cy="3950313"/>
          </a:xfrm>
          <a:prstGeom prst="rect">
            <a:avLst/>
          </a:prstGeom>
        </p:spPr>
      </p:pic>
      <p:pic>
        <p:nvPicPr>
          <p:cNvPr id="1026" name="Picture 2" descr="Rick van der Lans - Adept Events">
            <a:extLst>
              <a:ext uri="{FF2B5EF4-FFF2-40B4-BE49-F238E27FC236}">
                <a16:creationId xmlns:a16="http://schemas.microsoft.com/office/drawing/2014/main" id="{2F27470B-67F4-2D95-D9E1-644CF98DD2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821" y="4738775"/>
            <a:ext cx="1887166" cy="18871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ouble Thumbs Up Emoticon Stock Illustration - Download Image Now -  Emoticon, Thumbs Up, Anthropomorphic Smiley Face - iStock">
            <a:extLst>
              <a:ext uri="{FF2B5EF4-FFF2-40B4-BE49-F238E27FC236}">
                <a16:creationId xmlns:a16="http://schemas.microsoft.com/office/drawing/2014/main" id="{99E0EEE4-FCCF-85C5-BEE8-0F35D1F8FD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45987" y="5656303"/>
            <a:ext cx="1565748" cy="969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7368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500"/>
                                        <p:tgtEl>
                                          <p:spTgt spid="1026"/>
                                        </p:tgtEl>
                                      </p:cBhvr>
                                    </p:animEffect>
                                  </p:childTnLst>
                                </p:cTn>
                              </p:par>
                              <p:par>
                                <p:cTn id="13" presetID="10" presetClass="entr" presetSubtype="0" fill="hold" nodeType="with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E9CC81-A8F4-4439-A4CA-3ADB2CF4BCFD}"/>
              </a:ext>
            </a:extLst>
          </p:cNvPr>
          <p:cNvSpPr>
            <a:spLocks noGrp="1"/>
          </p:cNvSpPr>
          <p:nvPr>
            <p:ph type="title"/>
          </p:nvPr>
        </p:nvSpPr>
        <p:spPr/>
        <p:txBody>
          <a:bodyPr/>
          <a:lstStyle/>
          <a:p>
            <a:r>
              <a:rPr lang="en-US" dirty="0"/>
              <a:t>contact</a:t>
            </a:r>
            <a:endParaRPr lang="nl-BE" dirty="0"/>
          </a:p>
        </p:txBody>
      </p:sp>
      <p:pic>
        <p:nvPicPr>
          <p:cNvPr id="14" name="Picture 13">
            <a:extLst>
              <a:ext uri="{FF2B5EF4-FFF2-40B4-BE49-F238E27FC236}">
                <a16:creationId xmlns:a16="http://schemas.microsoft.com/office/drawing/2014/main" id="{8EAA10CD-9D1C-4C49-B5AE-58226636C5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8200" y="5421842"/>
            <a:ext cx="2545080" cy="1026844"/>
          </a:xfrm>
          <a:prstGeom prst="rect">
            <a:avLst/>
          </a:prstGeom>
        </p:spPr>
      </p:pic>
      <p:pic>
        <p:nvPicPr>
          <p:cNvPr id="17" name="Picture 16">
            <a:extLst>
              <a:ext uri="{FF2B5EF4-FFF2-40B4-BE49-F238E27FC236}">
                <a16:creationId xmlns:a16="http://schemas.microsoft.com/office/drawing/2014/main" id="{5D161C8D-663B-4479-82E4-47BE03A5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2553" y="5276137"/>
            <a:ext cx="2289053" cy="1291369"/>
          </a:xfrm>
          <a:prstGeom prst="rect">
            <a:avLst/>
          </a:prstGeom>
        </p:spPr>
      </p:pic>
      <p:pic>
        <p:nvPicPr>
          <p:cNvPr id="18" name="Picture 17">
            <a:extLst>
              <a:ext uri="{FF2B5EF4-FFF2-40B4-BE49-F238E27FC236}">
                <a16:creationId xmlns:a16="http://schemas.microsoft.com/office/drawing/2014/main" id="{6567CC35-AC26-4F78-A0DA-AF4C0D772EB3}"/>
              </a:ext>
            </a:extLst>
          </p:cNvPr>
          <p:cNvPicPr>
            <a:picLocks noChangeAspect="1"/>
          </p:cNvPicPr>
          <p:nvPr/>
        </p:nvPicPr>
        <p:blipFill>
          <a:blip r:embed="rId4"/>
          <a:stretch>
            <a:fillRect/>
          </a:stretch>
        </p:blipFill>
        <p:spPr>
          <a:xfrm>
            <a:off x="6155747" y="5436990"/>
            <a:ext cx="3074347" cy="996547"/>
          </a:xfrm>
          <a:prstGeom prst="rect">
            <a:avLst/>
          </a:prstGeom>
        </p:spPr>
      </p:pic>
      <p:pic>
        <p:nvPicPr>
          <p:cNvPr id="1030" name="Picture 6" descr="LinkedIn logo">
            <a:extLst>
              <a:ext uri="{FF2B5EF4-FFF2-40B4-BE49-F238E27FC236}">
                <a16:creationId xmlns:a16="http://schemas.microsoft.com/office/drawing/2014/main" id="{ABD504F5-71D8-476F-9098-E5AC766435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1460513"/>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A89FB90-D1F7-49D7-932B-7A915FE0122D}"/>
              </a:ext>
            </a:extLst>
          </p:cNvPr>
          <p:cNvSpPr txBox="1"/>
          <p:nvPr/>
        </p:nvSpPr>
        <p:spPr>
          <a:xfrm>
            <a:off x="2028824" y="1587225"/>
            <a:ext cx="2900363" cy="584775"/>
          </a:xfrm>
          <a:prstGeom prst="rect">
            <a:avLst/>
          </a:prstGeom>
          <a:noFill/>
        </p:spPr>
        <p:txBody>
          <a:bodyPr wrap="square" rtlCol="0">
            <a:spAutoFit/>
          </a:bodyPr>
          <a:lstStyle/>
          <a:p>
            <a:r>
              <a:rPr kumimoji="0" lang="en-CA" sz="3200" b="0" i="0" u="none" strike="noStrike" kern="1200" cap="none" spc="0" normalizeH="0" baseline="0" noProof="0" dirty="0">
                <a:ln>
                  <a:noFill/>
                </a:ln>
                <a:solidFill>
                  <a:srgbClr val="0274B3"/>
                </a:solidFill>
                <a:effectLst/>
                <a:uLnTx/>
                <a:uFillTx/>
                <a:latin typeface="Calibri" panose="020F0502020204030204"/>
                <a:ea typeface="+mn-ea"/>
                <a:cs typeface="+mn-cs"/>
              </a:rPr>
              <a:t>Koen Verbeeck</a:t>
            </a:r>
          </a:p>
        </p:txBody>
      </p:sp>
      <p:pic>
        <p:nvPicPr>
          <p:cNvPr id="1032" name="Picture 8" descr="Download Twitter Logo Png Transparent Background - Logo Twitter Png PNG  Image with No Background - PNGkey.com">
            <a:extLst>
              <a:ext uri="{FF2B5EF4-FFF2-40B4-BE49-F238E27FC236}">
                <a16:creationId xmlns:a16="http://schemas.microsoft.com/office/drawing/2014/main" id="{1A0F28DB-B120-4149-A9BF-B5891541B4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6345" y="2359390"/>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2E475E7-96DF-4E92-BDAA-A0A65DA568CE}"/>
              </a:ext>
            </a:extLst>
          </p:cNvPr>
          <p:cNvSpPr txBox="1"/>
          <p:nvPr/>
        </p:nvSpPr>
        <p:spPr>
          <a:xfrm>
            <a:off x="2028824" y="2501486"/>
            <a:ext cx="2900363" cy="584775"/>
          </a:xfrm>
          <a:prstGeom prst="rect">
            <a:avLst/>
          </a:prstGeom>
          <a:noFill/>
        </p:spPr>
        <p:txBody>
          <a:bodyPr wrap="square" rtlCol="0">
            <a:spAutoFit/>
          </a:bodyPr>
          <a:lstStyle/>
          <a:p>
            <a:r>
              <a:rPr kumimoji="0" lang="en-CA" sz="3200" b="0" i="0" u="none" strike="noStrike" kern="1200" cap="none" spc="0" normalizeH="0" baseline="0" noProof="0" dirty="0">
                <a:ln>
                  <a:noFill/>
                </a:ln>
                <a:solidFill>
                  <a:srgbClr val="00AEEF"/>
                </a:solidFill>
                <a:effectLst/>
                <a:uLnTx/>
                <a:uFillTx/>
                <a:latin typeface="Calibri" panose="020F0502020204030204"/>
                <a:ea typeface="+mn-ea"/>
                <a:cs typeface="+mn-cs"/>
              </a:rPr>
              <a:t>@Ko_Ver</a:t>
            </a:r>
          </a:p>
        </p:txBody>
      </p:sp>
      <p:sp>
        <p:nvSpPr>
          <p:cNvPr id="24" name="Graphic 22">
            <a:extLst>
              <a:ext uri="{FF2B5EF4-FFF2-40B4-BE49-F238E27FC236}">
                <a16:creationId xmlns:a16="http://schemas.microsoft.com/office/drawing/2014/main" id="{BFF25780-A8C4-4535-819C-7DA44AC5906F}"/>
              </a:ext>
            </a:extLst>
          </p:cNvPr>
          <p:cNvSpPr/>
          <p:nvPr/>
        </p:nvSpPr>
        <p:spPr>
          <a:xfrm>
            <a:off x="-2953248" y="6262402"/>
            <a:ext cx="143341" cy="113321"/>
          </a:xfrm>
          <a:custGeom>
            <a:avLst/>
            <a:gdLst>
              <a:gd name="connsiteX0" fmla="*/ 1048173 w 1144481"/>
              <a:gd name="connsiteY0" fmla="*/ 354330 h 688551"/>
              <a:gd name="connsiteX1" fmla="*/ 1144482 w 1144481"/>
              <a:gd name="connsiteY1" fmla="*/ 514138 h 688551"/>
              <a:gd name="connsiteX2" fmla="*/ 1024467 w 1144481"/>
              <a:gd name="connsiteY2" fmla="*/ 683048 h 688551"/>
              <a:gd name="connsiteX3" fmla="*/ 1000760 w 1144481"/>
              <a:gd name="connsiteY3" fmla="*/ 688552 h 688551"/>
              <a:gd name="connsiteX4" fmla="*/ 174413 w 1144481"/>
              <a:gd name="connsiteY4" fmla="*/ 688552 h 688551"/>
              <a:gd name="connsiteX5" fmla="*/ 0 w 1144481"/>
              <a:gd name="connsiteY5" fmla="*/ 495935 h 688551"/>
              <a:gd name="connsiteX6" fmla="*/ 174413 w 1144481"/>
              <a:gd name="connsiteY6" fmla="*/ 303318 h 688551"/>
              <a:gd name="connsiteX7" fmla="*/ 194310 w 1144481"/>
              <a:gd name="connsiteY7" fmla="*/ 305223 h 688551"/>
              <a:gd name="connsiteX8" fmla="*/ 327025 w 1144481"/>
              <a:gd name="connsiteY8" fmla="*/ 225213 h 688551"/>
              <a:gd name="connsiteX9" fmla="*/ 370628 w 1144481"/>
              <a:gd name="connsiteY9" fmla="*/ 232410 h 688551"/>
              <a:gd name="connsiteX10" fmla="*/ 370628 w 1144481"/>
              <a:gd name="connsiteY10" fmla="*/ 225213 h 688551"/>
              <a:gd name="connsiteX11" fmla="*/ 574040 w 1144481"/>
              <a:gd name="connsiteY11" fmla="*/ 0 h 688551"/>
              <a:gd name="connsiteX12" fmla="*/ 757555 w 1144481"/>
              <a:gd name="connsiteY12" fmla="*/ 130810 h 688551"/>
              <a:gd name="connsiteX13" fmla="*/ 853863 w 1144481"/>
              <a:gd name="connsiteY13" fmla="*/ 101812 h 688551"/>
              <a:gd name="connsiteX14" fmla="*/ 1050078 w 1144481"/>
              <a:gd name="connsiteY14" fmla="*/ 319828 h 688551"/>
              <a:gd name="connsiteX15" fmla="*/ 1048173 w 1144481"/>
              <a:gd name="connsiteY15" fmla="*/ 354330 h 68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4481" h="688551">
                <a:moveTo>
                  <a:pt x="1048173" y="354330"/>
                </a:moveTo>
                <a:cubicBezTo>
                  <a:pt x="1106382" y="381635"/>
                  <a:pt x="1144482" y="443442"/>
                  <a:pt x="1144482" y="514138"/>
                </a:cubicBezTo>
                <a:cubicBezTo>
                  <a:pt x="1144482" y="595842"/>
                  <a:pt x="1093682" y="664845"/>
                  <a:pt x="1024467" y="683048"/>
                </a:cubicBezTo>
                <a:lnTo>
                  <a:pt x="1000760" y="688552"/>
                </a:lnTo>
                <a:lnTo>
                  <a:pt x="174413" y="688552"/>
                </a:lnTo>
                <a:cubicBezTo>
                  <a:pt x="78105" y="688552"/>
                  <a:pt x="0" y="601345"/>
                  <a:pt x="0" y="495935"/>
                </a:cubicBezTo>
                <a:cubicBezTo>
                  <a:pt x="0" y="390525"/>
                  <a:pt x="78105" y="303318"/>
                  <a:pt x="174413" y="303318"/>
                </a:cubicBezTo>
                <a:cubicBezTo>
                  <a:pt x="181610" y="303318"/>
                  <a:pt x="187113" y="303318"/>
                  <a:pt x="194310" y="305223"/>
                </a:cubicBezTo>
                <a:cubicBezTo>
                  <a:pt x="223308" y="254423"/>
                  <a:pt x="272415" y="225213"/>
                  <a:pt x="327025" y="225213"/>
                </a:cubicBezTo>
                <a:cubicBezTo>
                  <a:pt x="341630" y="225213"/>
                  <a:pt x="356023" y="227118"/>
                  <a:pt x="370628" y="232410"/>
                </a:cubicBezTo>
                <a:cubicBezTo>
                  <a:pt x="370628" y="230505"/>
                  <a:pt x="370628" y="226907"/>
                  <a:pt x="370628" y="225213"/>
                </a:cubicBezTo>
                <a:cubicBezTo>
                  <a:pt x="370628" y="99907"/>
                  <a:pt x="461433" y="0"/>
                  <a:pt x="574040" y="0"/>
                </a:cubicBezTo>
                <a:cubicBezTo>
                  <a:pt x="652145" y="0"/>
                  <a:pt x="724747" y="52705"/>
                  <a:pt x="757555" y="130810"/>
                </a:cubicBezTo>
                <a:cubicBezTo>
                  <a:pt x="786553" y="112607"/>
                  <a:pt x="819362" y="101812"/>
                  <a:pt x="853863" y="101812"/>
                </a:cubicBezTo>
                <a:cubicBezTo>
                  <a:pt x="962872" y="101812"/>
                  <a:pt x="1050078" y="200025"/>
                  <a:pt x="1050078" y="319828"/>
                </a:cubicBezTo>
                <a:cubicBezTo>
                  <a:pt x="1051772" y="330835"/>
                  <a:pt x="1050078" y="341630"/>
                  <a:pt x="1048173" y="354330"/>
                </a:cubicBezTo>
                <a:close/>
              </a:path>
            </a:pathLst>
          </a:custGeom>
          <a:solidFill>
            <a:srgbClr val="00188F"/>
          </a:solidFill>
          <a:ln w="2117" cap="flat">
            <a:noFill/>
            <a:prstDash val="solid"/>
            <a:miter/>
          </a:ln>
        </p:spPr>
        <p:txBody>
          <a:bodyPr rtlCol="0" anchor="ctr"/>
          <a:lstStyle/>
          <a:p>
            <a:endParaRPr lang="nl-BE"/>
          </a:p>
        </p:txBody>
      </p:sp>
      <p:sp>
        <p:nvSpPr>
          <p:cNvPr id="30" name="TextBox 29">
            <a:extLst>
              <a:ext uri="{FF2B5EF4-FFF2-40B4-BE49-F238E27FC236}">
                <a16:creationId xmlns:a16="http://schemas.microsoft.com/office/drawing/2014/main" id="{D1C574BF-8FBF-4BF2-976A-76C4D9FB4ED1}"/>
              </a:ext>
            </a:extLst>
          </p:cNvPr>
          <p:cNvSpPr txBox="1"/>
          <p:nvPr/>
        </p:nvSpPr>
        <p:spPr>
          <a:xfrm>
            <a:off x="2028823" y="4330007"/>
            <a:ext cx="2900363" cy="584775"/>
          </a:xfrm>
          <a:prstGeom prst="rect">
            <a:avLst/>
          </a:prstGeom>
          <a:noFill/>
        </p:spPr>
        <p:txBody>
          <a:bodyPr wrap="square" rtlCol="0">
            <a:spAutoFit/>
          </a:bodyPr>
          <a:lstStyle/>
          <a:p>
            <a:r>
              <a:rPr kumimoji="0" lang="en-CA" sz="3200" b="0" i="0" u="none" strike="noStrike" kern="1200" cap="none" spc="0" normalizeH="0" baseline="0" noProof="0" dirty="0">
                <a:ln>
                  <a:noFill/>
                </a:ln>
                <a:solidFill>
                  <a:srgbClr val="FF7E00"/>
                </a:solidFill>
                <a:effectLst/>
                <a:uLnTx/>
                <a:uFillTx/>
                <a:latin typeface="Calibri" panose="020F0502020204030204"/>
                <a:ea typeface="+mn-ea"/>
                <a:cs typeface="+mn-cs"/>
              </a:rPr>
              <a:t>SQLkover.com</a:t>
            </a:r>
          </a:p>
        </p:txBody>
      </p:sp>
      <p:pic>
        <p:nvPicPr>
          <p:cNvPr id="3" name="Picture 2" descr="A picture containing text, book&#10;&#10;Description automatically generated">
            <a:extLst>
              <a:ext uri="{FF2B5EF4-FFF2-40B4-BE49-F238E27FC236}">
                <a16:creationId xmlns:a16="http://schemas.microsoft.com/office/drawing/2014/main" id="{D2C93DC1-82B1-57AC-8ADE-65CBBC98F1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6496" y="3957637"/>
            <a:ext cx="2900363" cy="2900363"/>
          </a:xfrm>
          <a:prstGeom prst="rect">
            <a:avLst/>
          </a:prstGeom>
        </p:spPr>
      </p:pic>
      <p:sp>
        <p:nvSpPr>
          <p:cNvPr id="2" name="TextBox 1">
            <a:extLst>
              <a:ext uri="{FF2B5EF4-FFF2-40B4-BE49-F238E27FC236}">
                <a16:creationId xmlns:a16="http://schemas.microsoft.com/office/drawing/2014/main" id="{6C335CD5-3FD7-F97A-67F8-48E48E5D262D}"/>
              </a:ext>
            </a:extLst>
          </p:cNvPr>
          <p:cNvSpPr txBox="1"/>
          <p:nvPr/>
        </p:nvSpPr>
        <p:spPr>
          <a:xfrm>
            <a:off x="2028822" y="3415747"/>
            <a:ext cx="5233994" cy="584775"/>
          </a:xfrm>
          <a:prstGeom prst="rect">
            <a:avLst/>
          </a:prstGeom>
          <a:noFill/>
        </p:spPr>
        <p:txBody>
          <a:bodyPr wrap="square" rtlCol="0">
            <a:spAutoFit/>
          </a:bodyPr>
          <a:lstStyle/>
          <a:p>
            <a:r>
              <a:rPr lang="nl-BE" sz="3200" b="0" i="0" dirty="0">
                <a:solidFill>
                  <a:srgbClr val="00188F"/>
                </a:solidFill>
                <a:effectLst/>
                <a:latin typeface="mastodon-font-sans-serif"/>
              </a:rPr>
              <a:t>@koenv.bsky.social</a:t>
            </a:r>
            <a:endParaRPr kumimoji="0" lang="en-CA" sz="3200" b="0" i="0" u="none" strike="noStrike" kern="1200" cap="none" spc="0" normalizeH="0" baseline="0" noProof="0" dirty="0">
              <a:ln>
                <a:noFill/>
              </a:ln>
              <a:solidFill>
                <a:srgbClr val="00188F"/>
              </a:solidFill>
              <a:effectLst/>
              <a:uLnTx/>
              <a:uFillTx/>
              <a:latin typeface="Calibri" panose="020F0502020204030204"/>
              <a:ea typeface="+mn-ea"/>
              <a:cs typeface="+mn-cs"/>
            </a:endParaRPr>
          </a:p>
        </p:txBody>
      </p:sp>
      <p:sp>
        <p:nvSpPr>
          <p:cNvPr id="6" name="Graphic 22">
            <a:extLst>
              <a:ext uri="{FF2B5EF4-FFF2-40B4-BE49-F238E27FC236}">
                <a16:creationId xmlns:a16="http://schemas.microsoft.com/office/drawing/2014/main" id="{D5894BAA-8AB2-65D9-1B7A-7DB41CB0FDDB}"/>
              </a:ext>
            </a:extLst>
          </p:cNvPr>
          <p:cNvSpPr/>
          <p:nvPr/>
        </p:nvSpPr>
        <p:spPr>
          <a:xfrm>
            <a:off x="836345" y="3302990"/>
            <a:ext cx="838200" cy="739733"/>
          </a:xfrm>
          <a:custGeom>
            <a:avLst/>
            <a:gdLst>
              <a:gd name="connsiteX0" fmla="*/ 1048173 w 1144481"/>
              <a:gd name="connsiteY0" fmla="*/ 354330 h 688551"/>
              <a:gd name="connsiteX1" fmla="*/ 1144482 w 1144481"/>
              <a:gd name="connsiteY1" fmla="*/ 514138 h 688551"/>
              <a:gd name="connsiteX2" fmla="*/ 1024467 w 1144481"/>
              <a:gd name="connsiteY2" fmla="*/ 683048 h 688551"/>
              <a:gd name="connsiteX3" fmla="*/ 1000760 w 1144481"/>
              <a:gd name="connsiteY3" fmla="*/ 688552 h 688551"/>
              <a:gd name="connsiteX4" fmla="*/ 174413 w 1144481"/>
              <a:gd name="connsiteY4" fmla="*/ 688552 h 688551"/>
              <a:gd name="connsiteX5" fmla="*/ 0 w 1144481"/>
              <a:gd name="connsiteY5" fmla="*/ 495935 h 688551"/>
              <a:gd name="connsiteX6" fmla="*/ 174413 w 1144481"/>
              <a:gd name="connsiteY6" fmla="*/ 303318 h 688551"/>
              <a:gd name="connsiteX7" fmla="*/ 194310 w 1144481"/>
              <a:gd name="connsiteY7" fmla="*/ 305223 h 688551"/>
              <a:gd name="connsiteX8" fmla="*/ 327025 w 1144481"/>
              <a:gd name="connsiteY8" fmla="*/ 225213 h 688551"/>
              <a:gd name="connsiteX9" fmla="*/ 370628 w 1144481"/>
              <a:gd name="connsiteY9" fmla="*/ 232410 h 688551"/>
              <a:gd name="connsiteX10" fmla="*/ 370628 w 1144481"/>
              <a:gd name="connsiteY10" fmla="*/ 225213 h 688551"/>
              <a:gd name="connsiteX11" fmla="*/ 574040 w 1144481"/>
              <a:gd name="connsiteY11" fmla="*/ 0 h 688551"/>
              <a:gd name="connsiteX12" fmla="*/ 757555 w 1144481"/>
              <a:gd name="connsiteY12" fmla="*/ 130810 h 688551"/>
              <a:gd name="connsiteX13" fmla="*/ 853863 w 1144481"/>
              <a:gd name="connsiteY13" fmla="*/ 101812 h 688551"/>
              <a:gd name="connsiteX14" fmla="*/ 1050078 w 1144481"/>
              <a:gd name="connsiteY14" fmla="*/ 319828 h 688551"/>
              <a:gd name="connsiteX15" fmla="*/ 1048173 w 1144481"/>
              <a:gd name="connsiteY15" fmla="*/ 354330 h 68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4481" h="688551">
                <a:moveTo>
                  <a:pt x="1048173" y="354330"/>
                </a:moveTo>
                <a:cubicBezTo>
                  <a:pt x="1106382" y="381635"/>
                  <a:pt x="1144482" y="443442"/>
                  <a:pt x="1144482" y="514138"/>
                </a:cubicBezTo>
                <a:cubicBezTo>
                  <a:pt x="1144482" y="595842"/>
                  <a:pt x="1093682" y="664845"/>
                  <a:pt x="1024467" y="683048"/>
                </a:cubicBezTo>
                <a:lnTo>
                  <a:pt x="1000760" y="688552"/>
                </a:lnTo>
                <a:lnTo>
                  <a:pt x="174413" y="688552"/>
                </a:lnTo>
                <a:cubicBezTo>
                  <a:pt x="78105" y="688552"/>
                  <a:pt x="0" y="601345"/>
                  <a:pt x="0" y="495935"/>
                </a:cubicBezTo>
                <a:cubicBezTo>
                  <a:pt x="0" y="390525"/>
                  <a:pt x="78105" y="303318"/>
                  <a:pt x="174413" y="303318"/>
                </a:cubicBezTo>
                <a:cubicBezTo>
                  <a:pt x="181610" y="303318"/>
                  <a:pt x="187113" y="303318"/>
                  <a:pt x="194310" y="305223"/>
                </a:cubicBezTo>
                <a:cubicBezTo>
                  <a:pt x="223308" y="254423"/>
                  <a:pt x="272415" y="225213"/>
                  <a:pt x="327025" y="225213"/>
                </a:cubicBezTo>
                <a:cubicBezTo>
                  <a:pt x="341630" y="225213"/>
                  <a:pt x="356023" y="227118"/>
                  <a:pt x="370628" y="232410"/>
                </a:cubicBezTo>
                <a:cubicBezTo>
                  <a:pt x="370628" y="230505"/>
                  <a:pt x="370628" y="226907"/>
                  <a:pt x="370628" y="225213"/>
                </a:cubicBezTo>
                <a:cubicBezTo>
                  <a:pt x="370628" y="99907"/>
                  <a:pt x="461433" y="0"/>
                  <a:pt x="574040" y="0"/>
                </a:cubicBezTo>
                <a:cubicBezTo>
                  <a:pt x="652145" y="0"/>
                  <a:pt x="724747" y="52705"/>
                  <a:pt x="757555" y="130810"/>
                </a:cubicBezTo>
                <a:cubicBezTo>
                  <a:pt x="786553" y="112607"/>
                  <a:pt x="819362" y="101812"/>
                  <a:pt x="853863" y="101812"/>
                </a:cubicBezTo>
                <a:cubicBezTo>
                  <a:pt x="962872" y="101812"/>
                  <a:pt x="1050078" y="200025"/>
                  <a:pt x="1050078" y="319828"/>
                </a:cubicBezTo>
                <a:cubicBezTo>
                  <a:pt x="1051772" y="330835"/>
                  <a:pt x="1050078" y="341630"/>
                  <a:pt x="1048173" y="354330"/>
                </a:cubicBezTo>
                <a:close/>
              </a:path>
            </a:pathLst>
          </a:custGeom>
          <a:solidFill>
            <a:srgbClr val="00188F"/>
          </a:solidFill>
          <a:ln w="2117" cap="flat">
            <a:noFill/>
            <a:prstDash val="solid"/>
            <a:miter/>
          </a:ln>
        </p:spPr>
        <p:txBody>
          <a:bodyPr rtlCol="0" anchor="ctr"/>
          <a:lstStyle/>
          <a:p>
            <a:endParaRPr lang="nl-BE"/>
          </a:p>
        </p:txBody>
      </p:sp>
      <p:pic>
        <p:nvPicPr>
          <p:cNvPr id="2050" name="Picture 2" descr="Blogger logo and symbol, meaning, history, PNG">
            <a:extLst>
              <a:ext uri="{FF2B5EF4-FFF2-40B4-BE49-F238E27FC236}">
                <a16:creationId xmlns:a16="http://schemas.microsoft.com/office/drawing/2014/main" id="{411EED54-1C44-878F-FBD1-708A4353B6D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3968" t="3715" r="24447" b="4580"/>
          <a:stretch/>
        </p:blipFill>
        <p:spPr bwMode="auto">
          <a:xfrm>
            <a:off x="836345" y="4205756"/>
            <a:ext cx="826307" cy="826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527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2F7FAB0D-5100-A377-7C50-C8953AB6A5BA}"/>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SQL Endpoint</a:t>
            </a:r>
          </a:p>
        </p:txBody>
      </p:sp>
      <p:pic>
        <p:nvPicPr>
          <p:cNvPr id="6" name="Picture 5">
            <a:extLst>
              <a:ext uri="{FF2B5EF4-FFF2-40B4-BE49-F238E27FC236}">
                <a16:creationId xmlns:a16="http://schemas.microsoft.com/office/drawing/2014/main" id="{7B53BD2B-7FB7-548D-74DD-EA10614974AB}"/>
              </a:ext>
            </a:extLst>
          </p:cNvPr>
          <p:cNvPicPr>
            <a:picLocks noChangeAspect="1"/>
          </p:cNvPicPr>
          <p:nvPr/>
        </p:nvPicPr>
        <p:blipFill>
          <a:blip r:embed="rId2"/>
          <a:stretch>
            <a:fillRect/>
          </a:stretch>
        </p:blipFill>
        <p:spPr>
          <a:xfrm>
            <a:off x="918638" y="752952"/>
            <a:ext cx="6950042" cy="3848433"/>
          </a:xfrm>
          <a:prstGeom prst="rect">
            <a:avLst/>
          </a:prstGeom>
        </p:spPr>
      </p:pic>
      <p:pic>
        <p:nvPicPr>
          <p:cNvPr id="8" name="Picture 7">
            <a:extLst>
              <a:ext uri="{FF2B5EF4-FFF2-40B4-BE49-F238E27FC236}">
                <a16:creationId xmlns:a16="http://schemas.microsoft.com/office/drawing/2014/main" id="{FDADBDD1-0DEB-31CE-92AF-2A3024D35709}"/>
              </a:ext>
            </a:extLst>
          </p:cNvPr>
          <p:cNvPicPr>
            <a:picLocks noChangeAspect="1"/>
          </p:cNvPicPr>
          <p:nvPr/>
        </p:nvPicPr>
        <p:blipFill>
          <a:blip r:embed="rId3"/>
          <a:stretch>
            <a:fillRect/>
          </a:stretch>
        </p:blipFill>
        <p:spPr>
          <a:xfrm>
            <a:off x="2509603" y="2409028"/>
            <a:ext cx="8763759" cy="3696020"/>
          </a:xfrm>
          <a:prstGeom prst="rect">
            <a:avLst/>
          </a:prstGeom>
        </p:spPr>
      </p:pic>
    </p:spTree>
    <p:extLst>
      <p:ext uri="{BB962C8B-B14F-4D97-AF65-F5344CB8AC3E}">
        <p14:creationId xmlns:p14="http://schemas.microsoft.com/office/powerpoint/2010/main" val="1977894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FBBD2C0E-348F-9069-AF42-D59E5AE9790B}"/>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Notebooks in VS</a:t>
            </a:r>
            <a:r>
              <a:rPr kumimoji="0" lang="en-US" sz="3600" b="0" i="0" u="none" strike="noStrike" kern="1200" cap="none" spc="-50" normalizeH="0" noProof="0" dirty="0">
                <a:ln w="3175">
                  <a:noFill/>
                </a:ln>
                <a:solidFill>
                  <a:srgbClr val="117865"/>
                </a:solidFill>
                <a:effectLst/>
                <a:uLnTx/>
                <a:uFillTx/>
                <a:latin typeface="Segoe UI Semibold"/>
                <a:ea typeface="+mn-ea"/>
                <a:cs typeface="Segoe UI" pitchFamily="34" charset="0"/>
              </a:rPr>
              <a:t> Code</a:t>
            </a:r>
            <a:endPar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endParaRPr>
          </a:p>
        </p:txBody>
      </p:sp>
      <p:pic>
        <p:nvPicPr>
          <p:cNvPr id="6" name="Picture Placeholder 3">
            <a:extLst>
              <a:ext uri="{FF2B5EF4-FFF2-40B4-BE49-F238E27FC236}">
                <a16:creationId xmlns:a16="http://schemas.microsoft.com/office/drawing/2014/main" id="{D7B68AE0-7994-F7EB-B326-B404953083D7}"/>
              </a:ext>
            </a:extLst>
          </p:cNvPr>
          <p:cNvPicPr>
            <a:picLocks noChangeAspect="1"/>
          </p:cNvPicPr>
          <p:nvPr/>
        </p:nvPicPr>
        <p:blipFill>
          <a:blip r:embed="rId2"/>
          <a:srcRect t="6267" b="6267"/>
          <a:stretch>
            <a:fillRect/>
          </a:stretch>
        </p:blipFill>
        <p:spPr>
          <a:xfrm>
            <a:off x="293688" y="860425"/>
            <a:ext cx="11604625" cy="5710238"/>
          </a:xfrm>
          <a:prstGeom prst="rect">
            <a:avLst/>
          </a:prstGeom>
        </p:spPr>
      </p:pic>
    </p:spTree>
    <p:extLst>
      <p:ext uri="{BB962C8B-B14F-4D97-AF65-F5344CB8AC3E}">
        <p14:creationId xmlns:p14="http://schemas.microsoft.com/office/powerpoint/2010/main" val="3655917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FBBD2C0E-348F-9069-AF42-D59E5AE9790B}"/>
              </a:ext>
            </a:extLst>
          </p:cNvPr>
          <p:cNvSpPr txBox="1">
            <a:spLocks/>
          </p:cNvSpPr>
          <p:nvPr/>
        </p:nvSpPr>
        <p:spPr>
          <a:xfrm>
            <a:off x="582612" y="164907"/>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Schedule Notebooks</a:t>
            </a:r>
          </a:p>
        </p:txBody>
      </p:sp>
      <p:pic>
        <p:nvPicPr>
          <p:cNvPr id="2" name="Picture 1">
            <a:extLst>
              <a:ext uri="{FF2B5EF4-FFF2-40B4-BE49-F238E27FC236}">
                <a16:creationId xmlns:a16="http://schemas.microsoft.com/office/drawing/2014/main" id="{43BD4350-2397-FCF1-8455-E23661BC094C}"/>
              </a:ext>
            </a:extLst>
          </p:cNvPr>
          <p:cNvPicPr>
            <a:picLocks noChangeAspect="1"/>
          </p:cNvPicPr>
          <p:nvPr/>
        </p:nvPicPr>
        <p:blipFill>
          <a:blip r:embed="rId2"/>
          <a:stretch>
            <a:fillRect/>
          </a:stretch>
        </p:blipFill>
        <p:spPr>
          <a:xfrm>
            <a:off x="2460327" y="971357"/>
            <a:ext cx="7271344" cy="55084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61463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66A9FB-463B-9E25-ED20-D36959E12FD0}"/>
              </a:ext>
            </a:extLst>
          </p:cNvPr>
          <p:cNvSpPr>
            <a:spLocks noGrp="1"/>
          </p:cNvSpPr>
          <p:nvPr>
            <p:ph type="ctrTitle"/>
          </p:nvPr>
        </p:nvSpPr>
        <p:spPr/>
        <p:txBody>
          <a:bodyPr>
            <a:normAutofit/>
          </a:bodyPr>
          <a:lstStyle/>
          <a:p>
            <a:r>
              <a:rPr lang="en-US" sz="8000" dirty="0"/>
              <a:t> </a:t>
            </a:r>
            <a:br>
              <a:rPr lang="en-US" sz="16600" dirty="0"/>
            </a:br>
            <a:r>
              <a:rPr lang="en-US" sz="16600" dirty="0"/>
              <a:t>demo</a:t>
            </a:r>
            <a:endParaRPr lang="nl-BE" sz="16600" dirty="0"/>
          </a:p>
        </p:txBody>
      </p:sp>
    </p:spTree>
    <p:extLst>
      <p:ext uri="{BB962C8B-B14F-4D97-AF65-F5344CB8AC3E}">
        <p14:creationId xmlns:p14="http://schemas.microsoft.com/office/powerpoint/2010/main" val="421144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warehous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31126736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5946026-8AB4-BD94-A9BB-92BC7DCFB8CE}"/>
              </a:ext>
            </a:extLst>
          </p:cNvPr>
          <p:cNvGrpSpPr/>
          <p:nvPr/>
        </p:nvGrpSpPr>
        <p:grpSpPr>
          <a:xfrm>
            <a:off x="1488149" y="996545"/>
            <a:ext cx="2204884" cy="2204884"/>
            <a:chOff x="584200" y="2424171"/>
            <a:chExt cx="2204884" cy="2204884"/>
          </a:xfrm>
        </p:grpSpPr>
        <p:sp>
          <p:nvSpPr>
            <p:cNvPr id="20" name="Rectangle: Rounded Corners 19">
              <a:extLst>
                <a:ext uri="{FF2B5EF4-FFF2-40B4-BE49-F238E27FC236}">
                  <a16:creationId xmlns:a16="http://schemas.microsoft.com/office/drawing/2014/main" id="{21F521BE-4D88-EDF5-07AF-31A4A67972C3}"/>
                </a:ext>
              </a:extLst>
            </p:cNvPr>
            <p:cNvSpPr/>
            <p:nvPr/>
          </p:nvSpPr>
          <p:spPr bwMode="auto">
            <a:xfrm>
              <a:off x="58420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16D46C30-405E-AF16-9611-7C1CA1742855}"/>
                </a:ext>
              </a:extLst>
            </p:cNvPr>
            <p:cNvSpPr txBox="1"/>
            <p:nvPr/>
          </p:nvSpPr>
          <p:spPr>
            <a:xfrm>
              <a:off x="895751" y="3930967"/>
              <a:ext cx="1590692" cy="615553"/>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Synapse Data </a:t>
              </a:r>
              <a:br>
                <a:rPr kumimoji="0" lang="en-US" sz="2000" b="0" i="0" u="none" strike="noStrike" kern="0" cap="none" spc="0" normalizeH="0" baseline="0" noProof="0">
                  <a:ln>
                    <a:noFill/>
                  </a:ln>
                  <a:solidFill>
                    <a:srgbClr val="000000"/>
                  </a:solidFill>
                  <a:effectLst/>
                  <a:uLnTx/>
                  <a:uFillTx/>
                  <a:latin typeface="Segoe UI"/>
                  <a:cs typeface="+mn-cs"/>
                </a:rPr>
              </a:br>
              <a:r>
                <a:rPr kumimoji="0" lang="en-US" sz="2000" b="0" i="0" u="none" strike="noStrike" kern="0" cap="none" spc="0" normalizeH="0" baseline="0" noProof="0">
                  <a:ln>
                    <a:noFill/>
                  </a:ln>
                  <a:solidFill>
                    <a:srgbClr val="000000"/>
                  </a:solidFill>
                  <a:effectLst/>
                  <a:uLnTx/>
                  <a:uFillTx/>
                  <a:latin typeface="Segoe UI"/>
                  <a:cs typeface="+mn-cs"/>
                </a:rPr>
                <a:t>Warehouse</a:t>
              </a:r>
            </a:p>
          </p:txBody>
        </p:sp>
      </p:grpSp>
      <p:grpSp>
        <p:nvGrpSpPr>
          <p:cNvPr id="22" name="Group 21">
            <a:extLst>
              <a:ext uri="{FF2B5EF4-FFF2-40B4-BE49-F238E27FC236}">
                <a16:creationId xmlns:a16="http://schemas.microsoft.com/office/drawing/2014/main" id="{831FB964-0F38-42A8-1EAC-90D5F84866E5}"/>
              </a:ext>
            </a:extLst>
          </p:cNvPr>
          <p:cNvGrpSpPr/>
          <p:nvPr/>
        </p:nvGrpSpPr>
        <p:grpSpPr>
          <a:xfrm>
            <a:off x="1488873" y="4044699"/>
            <a:ext cx="2204884" cy="2204884"/>
            <a:chOff x="3410280" y="2424171"/>
            <a:chExt cx="2204884" cy="2204884"/>
          </a:xfrm>
        </p:grpSpPr>
        <p:sp>
          <p:nvSpPr>
            <p:cNvPr id="23" name="Rectangle: Rounded Corners 22">
              <a:extLst>
                <a:ext uri="{FF2B5EF4-FFF2-40B4-BE49-F238E27FC236}">
                  <a16:creationId xmlns:a16="http://schemas.microsoft.com/office/drawing/2014/main" id="{189481C6-7C51-BFD2-F097-B23076326B1D}"/>
                </a:ext>
              </a:extLst>
            </p:cNvPr>
            <p:cNvSpPr/>
            <p:nvPr/>
          </p:nvSpPr>
          <p:spPr bwMode="auto">
            <a:xfrm>
              <a:off x="341028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CA9D9CFC-C587-DA2D-7BDD-62073ADB1650}"/>
                </a:ext>
              </a:extLst>
            </p:cNvPr>
            <p:cNvSpPr txBox="1"/>
            <p:nvPr/>
          </p:nvSpPr>
          <p:spPr>
            <a:xfrm>
              <a:off x="3479142" y="3869514"/>
              <a:ext cx="2035493" cy="615553"/>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SQL Endpoint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on the </a:t>
              </a:r>
              <a:r>
                <a:rPr kumimoji="0" lang="en-US" sz="2000" b="0" i="0" u="none" strike="noStrike" kern="0" cap="none" spc="0" normalizeH="0" baseline="0" noProof="0" err="1">
                  <a:ln>
                    <a:noFill/>
                  </a:ln>
                  <a:solidFill>
                    <a:srgbClr val="000000"/>
                  </a:solidFill>
                  <a:effectLst/>
                  <a:uLnTx/>
                  <a:uFillTx/>
                  <a:latin typeface="Segoe UI"/>
                  <a:cs typeface="+mn-cs"/>
                </a:rPr>
                <a:t>LakeHouse</a:t>
              </a:r>
              <a:endParaRPr kumimoji="0" lang="en-US" sz="2000" b="0" i="0" u="none" strike="noStrike" kern="0" cap="none" spc="0" normalizeH="0" baseline="0" noProof="0">
                <a:ln>
                  <a:noFill/>
                </a:ln>
                <a:solidFill>
                  <a:srgbClr val="000000"/>
                </a:solidFill>
                <a:effectLst/>
                <a:uLnTx/>
                <a:uFillTx/>
                <a:latin typeface="Segoe UI"/>
                <a:cs typeface="+mn-cs"/>
              </a:endParaRPr>
            </a:p>
          </p:txBody>
        </p:sp>
      </p:grpSp>
      <p:sp>
        <p:nvSpPr>
          <p:cNvPr id="25" name="TextBox 24">
            <a:extLst>
              <a:ext uri="{FF2B5EF4-FFF2-40B4-BE49-F238E27FC236}">
                <a16:creationId xmlns:a16="http://schemas.microsoft.com/office/drawing/2014/main" id="{C2AE0016-8669-0758-50B7-B02B8F6F2A1B}"/>
              </a:ext>
            </a:extLst>
          </p:cNvPr>
          <p:cNvSpPr txBox="1"/>
          <p:nvPr/>
        </p:nvSpPr>
        <p:spPr>
          <a:xfrm>
            <a:off x="4235231" y="2014793"/>
            <a:ext cx="2511906"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Full T-SQL Commands</a:t>
            </a:r>
          </a:p>
        </p:txBody>
      </p:sp>
      <p:pic>
        <p:nvPicPr>
          <p:cNvPr id="26" name="Graphic 25">
            <a:extLst>
              <a:ext uri="{FF2B5EF4-FFF2-40B4-BE49-F238E27FC236}">
                <a16:creationId xmlns:a16="http://schemas.microsoft.com/office/drawing/2014/main" id="{56CC0017-E9AF-66E7-B4C7-3E8C74E713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71159" y="1581942"/>
            <a:ext cx="838864" cy="838864"/>
          </a:xfrm>
          <a:prstGeom prst="rect">
            <a:avLst/>
          </a:prstGeom>
        </p:spPr>
      </p:pic>
      <p:pic>
        <p:nvPicPr>
          <p:cNvPr id="27" name="Graphic 26">
            <a:extLst>
              <a:ext uri="{FF2B5EF4-FFF2-40B4-BE49-F238E27FC236}">
                <a16:creationId xmlns:a16="http://schemas.microsoft.com/office/drawing/2014/main" id="{5E8E3901-7B74-E5AC-F27B-32536858B3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22933" y="4668543"/>
            <a:ext cx="736765" cy="736765"/>
          </a:xfrm>
          <a:prstGeom prst="rect">
            <a:avLst/>
          </a:prstGeom>
        </p:spPr>
      </p:pic>
      <p:sp>
        <p:nvSpPr>
          <p:cNvPr id="28" name="TextBox 27">
            <a:extLst>
              <a:ext uri="{FF2B5EF4-FFF2-40B4-BE49-F238E27FC236}">
                <a16:creationId xmlns:a16="http://schemas.microsoft.com/office/drawing/2014/main" id="{AEC3CB98-979B-2867-72FC-E12813C5C15E}"/>
              </a:ext>
            </a:extLst>
          </p:cNvPr>
          <p:cNvSpPr txBox="1"/>
          <p:nvPr/>
        </p:nvSpPr>
        <p:spPr>
          <a:xfrm>
            <a:off x="4235231" y="2676811"/>
            <a:ext cx="3565207"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Several data ingestion methods</a:t>
            </a:r>
          </a:p>
        </p:txBody>
      </p:sp>
      <p:sp>
        <p:nvSpPr>
          <p:cNvPr id="29" name="TextBox 28">
            <a:extLst>
              <a:ext uri="{FF2B5EF4-FFF2-40B4-BE49-F238E27FC236}">
                <a16:creationId xmlns:a16="http://schemas.microsoft.com/office/drawing/2014/main" id="{0B517D5E-454D-A740-C812-CBC85E042129}"/>
              </a:ext>
            </a:extLst>
          </p:cNvPr>
          <p:cNvSpPr txBox="1"/>
          <p:nvPr/>
        </p:nvSpPr>
        <p:spPr>
          <a:xfrm>
            <a:off x="4235231" y="4993252"/>
            <a:ext cx="3263009"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Read-only T-SQL Commands</a:t>
            </a:r>
          </a:p>
        </p:txBody>
      </p:sp>
      <p:sp>
        <p:nvSpPr>
          <p:cNvPr id="30" name="TextBox 29">
            <a:extLst>
              <a:ext uri="{FF2B5EF4-FFF2-40B4-BE49-F238E27FC236}">
                <a16:creationId xmlns:a16="http://schemas.microsoft.com/office/drawing/2014/main" id="{D64CCE2D-F40E-5CF3-CC65-EB713F55DB88}"/>
              </a:ext>
            </a:extLst>
          </p:cNvPr>
          <p:cNvSpPr txBox="1"/>
          <p:nvPr/>
        </p:nvSpPr>
        <p:spPr>
          <a:xfrm>
            <a:off x="4235231" y="1300633"/>
            <a:ext cx="2622577"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Created in a workspace</a:t>
            </a:r>
          </a:p>
        </p:txBody>
      </p:sp>
      <p:sp>
        <p:nvSpPr>
          <p:cNvPr id="31" name="TextBox 30">
            <a:extLst>
              <a:ext uri="{FF2B5EF4-FFF2-40B4-BE49-F238E27FC236}">
                <a16:creationId xmlns:a16="http://schemas.microsoft.com/office/drawing/2014/main" id="{ABD71BE7-408A-5669-454C-47289BC16C43}"/>
              </a:ext>
            </a:extLst>
          </p:cNvPr>
          <p:cNvSpPr txBox="1"/>
          <p:nvPr/>
        </p:nvSpPr>
        <p:spPr>
          <a:xfrm>
            <a:off x="4235231" y="4298422"/>
            <a:ext cx="4991238" cy="307777"/>
          </a:xfrm>
          <a:prstGeom prst="rect">
            <a:avLst/>
          </a:prstGeom>
          <a:noFill/>
        </p:spPr>
        <p:txBody>
          <a:bodyPr wrap="none" lIns="0" tIns="0" rIns="0" bIns="0" rtlCol="0">
            <a:spAutoFit/>
          </a:bodyPr>
          <a:lstStyle/>
          <a:p>
            <a:pPr defTabSz="914367" fontAlgn="auto">
              <a:spcBef>
                <a:spcPts val="0"/>
              </a:spcBef>
              <a:spcAft>
                <a:spcPts val="0"/>
              </a:spcAft>
            </a:pPr>
            <a:r>
              <a:rPr lang="en-US" sz="2000" b="0" dirty="0">
                <a:solidFill>
                  <a:srgbClr val="49C5B1">
                    <a:lumMod val="50000"/>
                  </a:srgbClr>
                </a:solidFill>
                <a:latin typeface="Segoe UI"/>
                <a:cs typeface="+mn-cs"/>
              </a:rPr>
              <a:t>Automatically created with every </a:t>
            </a:r>
            <a:r>
              <a:rPr lang="en-US" sz="2000" b="0" dirty="0" err="1">
                <a:solidFill>
                  <a:srgbClr val="49C5B1">
                    <a:lumMod val="50000"/>
                  </a:srgbClr>
                </a:solidFill>
                <a:latin typeface="Segoe UI"/>
                <a:cs typeface="+mn-cs"/>
              </a:rPr>
              <a:t>LakeHouse</a:t>
            </a:r>
            <a:endParaRPr lang="en-US" sz="2000" b="0" dirty="0">
              <a:solidFill>
                <a:srgbClr val="49C5B1">
                  <a:lumMod val="50000"/>
                </a:srgbClr>
              </a:solidFill>
              <a:latin typeface="Segoe UI"/>
              <a:cs typeface="+mn-cs"/>
            </a:endParaRPr>
          </a:p>
        </p:txBody>
      </p:sp>
      <p:sp>
        <p:nvSpPr>
          <p:cNvPr id="32" name="TextBox 31">
            <a:extLst>
              <a:ext uri="{FF2B5EF4-FFF2-40B4-BE49-F238E27FC236}">
                <a16:creationId xmlns:a16="http://schemas.microsoft.com/office/drawing/2014/main" id="{74515131-07EB-C829-970B-6F252BB444A9}"/>
              </a:ext>
            </a:extLst>
          </p:cNvPr>
          <p:cNvSpPr txBox="1"/>
          <p:nvPr/>
        </p:nvSpPr>
        <p:spPr>
          <a:xfrm>
            <a:off x="4235231" y="5688082"/>
            <a:ext cx="1639488"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Data ingested </a:t>
            </a:r>
          </a:p>
        </p:txBody>
      </p:sp>
    </p:spTree>
    <p:extLst>
      <p:ext uri="{BB962C8B-B14F-4D97-AF65-F5344CB8AC3E}">
        <p14:creationId xmlns:p14="http://schemas.microsoft.com/office/powerpoint/2010/main" val="12733257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Free Cemetery Tombstone photo and picture">
            <a:extLst>
              <a:ext uri="{FF2B5EF4-FFF2-40B4-BE49-F238E27FC236}">
                <a16:creationId xmlns:a16="http://schemas.microsoft.com/office/drawing/2014/main" id="{51CCD494-A779-0907-A82C-354355D939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solidFill>
                <a:schemeClr val="bg1"/>
              </a:solidFill>
            </a:endParaRPr>
          </a:p>
          <a:p>
            <a:pPr marL="0" indent="0">
              <a:buNone/>
            </a:pPr>
            <a:r>
              <a:rPr lang="en-US" sz="7200" dirty="0">
                <a:solidFill>
                  <a:schemeClr val="bg1"/>
                </a:solidFill>
              </a:rPr>
              <a:t>this is not Synapse Dedicated SQL Pools</a:t>
            </a:r>
            <a:endParaRPr lang="nl-BE" sz="7200" b="1" dirty="0">
              <a:solidFill>
                <a:schemeClr val="bg1"/>
              </a:solidFill>
            </a:endParaRPr>
          </a:p>
        </p:txBody>
      </p:sp>
    </p:spTree>
    <p:extLst>
      <p:ext uri="{BB962C8B-B14F-4D97-AF65-F5344CB8AC3E}">
        <p14:creationId xmlns:p14="http://schemas.microsoft.com/office/powerpoint/2010/main" val="1668452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20230426-1642-53.3339011">
            <a:hlinkClick r:id="" action="ppaction://media"/>
            <a:extLst>
              <a:ext uri="{FF2B5EF4-FFF2-40B4-BE49-F238E27FC236}">
                <a16:creationId xmlns:a16="http://schemas.microsoft.com/office/drawing/2014/main" id="{F9704E1F-B7DE-63F7-96EE-299E3774863C}"/>
              </a:ext>
            </a:extLst>
          </p:cNvPr>
          <p:cNvPicPr>
            <a:picLocks noGrp="1" noChangeAspect="1"/>
          </p:cNvPicPr>
          <p:nvPr>
            <p:ph type="media" sz="quarter" idx="10"/>
            <a:videoFile r:link="rId2"/>
            <p:extLst>
              <p:ext uri="{DAA4B4D4-6D71-4841-9C94-3DE7FCFB9230}">
                <p14:media xmlns:p14="http://schemas.microsoft.com/office/powerpoint/2010/main" r:embed="rId1"/>
              </p:ext>
            </p:extLst>
          </p:nvPr>
        </p:nvPicPr>
        <p:blipFill>
          <a:blip r:embed="rId5"/>
          <a:stretch>
            <a:fillRect/>
          </a:stretch>
        </p:blipFill>
        <p:spPr>
          <a:xfrm>
            <a:off x="406400" y="1009650"/>
            <a:ext cx="11379200" cy="5554663"/>
          </a:xfrm>
        </p:spPr>
      </p:pic>
      <p:sp>
        <p:nvSpPr>
          <p:cNvPr id="2" name="Text Placeholder 1">
            <a:extLst>
              <a:ext uri="{FF2B5EF4-FFF2-40B4-BE49-F238E27FC236}">
                <a16:creationId xmlns:a16="http://schemas.microsoft.com/office/drawing/2014/main" id="{6184066B-706E-9339-DFE5-0E0A4D7112FE}"/>
              </a:ext>
            </a:extLst>
          </p:cNvPr>
          <p:cNvSpPr>
            <a:spLocks noGrp="1"/>
          </p:cNvSpPr>
          <p:nvPr>
            <p:ph type="body" sz="quarter" idx="11"/>
          </p:nvPr>
        </p:nvSpPr>
        <p:spPr/>
        <p:txBody>
          <a:bodyPr>
            <a:normAutofit fontScale="92500" lnSpcReduction="10000"/>
          </a:bodyPr>
          <a:lstStyle/>
          <a:p>
            <a:r>
              <a:rPr lang="en-US"/>
              <a:t>Build your warehouse</a:t>
            </a:r>
          </a:p>
        </p:txBody>
      </p:sp>
    </p:spTree>
    <p:extLst>
      <p:ext uri="{BB962C8B-B14F-4D97-AF65-F5344CB8AC3E}">
        <p14:creationId xmlns:p14="http://schemas.microsoft.com/office/powerpoint/2010/main" val="2412883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12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8991C-3994-565F-F644-1A1513986DA2}"/>
              </a:ext>
            </a:extLst>
          </p:cNvPr>
          <p:cNvSpPr>
            <a:spLocks noGrp="1"/>
          </p:cNvSpPr>
          <p:nvPr>
            <p:ph type="title"/>
          </p:nvPr>
        </p:nvSpPr>
        <p:spPr/>
        <p:txBody>
          <a:bodyPr/>
          <a:lstStyle/>
          <a:p>
            <a:endParaRPr lang="nl-BE"/>
          </a:p>
        </p:txBody>
      </p:sp>
      <p:pic>
        <p:nvPicPr>
          <p:cNvPr id="3" name="4-featurette-create-table">
            <a:hlinkClick r:id="" action="ppaction://media"/>
            <a:extLst>
              <a:ext uri="{FF2B5EF4-FFF2-40B4-BE49-F238E27FC236}">
                <a16:creationId xmlns:a16="http://schemas.microsoft.com/office/drawing/2014/main" id="{4A01C7A1-2432-0A12-976C-FB5F8E8F233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526881" y="821060"/>
            <a:ext cx="11274425" cy="5554663"/>
          </a:xfrm>
          <a:prstGeom prst="rect">
            <a:avLst/>
          </a:prstGeom>
        </p:spPr>
      </p:pic>
    </p:spTree>
    <p:extLst>
      <p:ext uri="{BB962C8B-B14F-4D97-AF65-F5344CB8AC3E}">
        <p14:creationId xmlns:p14="http://schemas.microsoft.com/office/powerpoint/2010/main" val="656499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7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2BD1A1-8C1B-51D8-D671-F340DAEA1388}"/>
              </a:ext>
            </a:extLst>
          </p:cNvPr>
          <p:cNvPicPr>
            <a:picLocks noChangeAspect="1"/>
          </p:cNvPicPr>
          <p:nvPr/>
        </p:nvPicPr>
        <p:blipFill>
          <a:blip r:embed="rId3"/>
          <a:stretch>
            <a:fillRect/>
          </a:stretch>
        </p:blipFill>
        <p:spPr>
          <a:xfrm>
            <a:off x="1291560" y="1192219"/>
            <a:ext cx="8458506" cy="4473562"/>
          </a:xfrm>
          <a:prstGeom prst="rect">
            <a:avLst/>
          </a:prstGeom>
        </p:spPr>
      </p:pic>
      <p:sp>
        <p:nvSpPr>
          <p:cNvPr id="5" name="Rectangle 4">
            <a:extLst>
              <a:ext uri="{FF2B5EF4-FFF2-40B4-BE49-F238E27FC236}">
                <a16:creationId xmlns:a16="http://schemas.microsoft.com/office/drawing/2014/main" id="{F2B0F802-2B44-82CB-6063-DB1B66D5F730}"/>
              </a:ext>
            </a:extLst>
          </p:cNvPr>
          <p:cNvSpPr/>
          <p:nvPr/>
        </p:nvSpPr>
        <p:spPr>
          <a:xfrm>
            <a:off x="1578214" y="4050990"/>
            <a:ext cx="4403387" cy="369651"/>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6" name="Rectangle 5">
            <a:extLst>
              <a:ext uri="{FF2B5EF4-FFF2-40B4-BE49-F238E27FC236}">
                <a16:creationId xmlns:a16="http://schemas.microsoft.com/office/drawing/2014/main" id="{D2211882-A4C2-57AB-1010-77C7EEFEC702}"/>
              </a:ext>
            </a:extLst>
          </p:cNvPr>
          <p:cNvSpPr/>
          <p:nvPr/>
        </p:nvSpPr>
        <p:spPr>
          <a:xfrm>
            <a:off x="1578214" y="5020513"/>
            <a:ext cx="1507790" cy="369651"/>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8" name="Picture 7">
            <a:extLst>
              <a:ext uri="{FF2B5EF4-FFF2-40B4-BE49-F238E27FC236}">
                <a16:creationId xmlns:a16="http://schemas.microsoft.com/office/drawing/2014/main" id="{9C7CA145-6B21-02D7-AEB5-ECA94E78600A}"/>
              </a:ext>
            </a:extLst>
          </p:cNvPr>
          <p:cNvPicPr>
            <a:picLocks noChangeAspect="1"/>
          </p:cNvPicPr>
          <p:nvPr/>
        </p:nvPicPr>
        <p:blipFill>
          <a:blip r:embed="rId4"/>
          <a:stretch>
            <a:fillRect/>
          </a:stretch>
        </p:blipFill>
        <p:spPr>
          <a:xfrm>
            <a:off x="4564930" y="4605467"/>
            <a:ext cx="6992746" cy="1344083"/>
          </a:xfrm>
          <a:prstGeom prst="rect">
            <a:avLst/>
          </a:prstGeom>
        </p:spPr>
      </p:pic>
      <p:sp>
        <p:nvSpPr>
          <p:cNvPr id="9" name="Rectangle 8">
            <a:extLst>
              <a:ext uri="{FF2B5EF4-FFF2-40B4-BE49-F238E27FC236}">
                <a16:creationId xmlns:a16="http://schemas.microsoft.com/office/drawing/2014/main" id="{3C359C71-914C-D52D-355C-6265DAFB79A8}"/>
              </a:ext>
            </a:extLst>
          </p:cNvPr>
          <p:cNvSpPr/>
          <p:nvPr/>
        </p:nvSpPr>
        <p:spPr>
          <a:xfrm>
            <a:off x="9086506" y="5092682"/>
            <a:ext cx="2142485" cy="369651"/>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122" name="Picture 2" descr="Movie gif. Jim Carrey as Fletcher Reede from Liar Liar clutches his face as he leans away in playful horror.">
            <a:extLst>
              <a:ext uri="{FF2B5EF4-FFF2-40B4-BE49-F238E27FC236}">
                <a16:creationId xmlns:a16="http://schemas.microsoft.com/office/drawing/2014/main" id="{33FDA740-BD38-D730-29B0-77DC88EAE1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25934" y="1192219"/>
            <a:ext cx="3314700" cy="2952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119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122"/>
                                        </p:tgtEl>
                                        <p:attrNameLst>
                                          <p:attrName>style.visibility</p:attrName>
                                        </p:attrNameLst>
                                      </p:cBhvr>
                                      <p:to>
                                        <p:strVal val="visible"/>
                                      </p:to>
                                    </p:set>
                                    <p:animEffect transition="in" filter="fade">
                                      <p:cBhvr>
                                        <p:cTn id="27" dur="500"/>
                                        <p:tgtEl>
                                          <p:spTgt spid="5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what is</a:t>
            </a:r>
            <a:br>
              <a:rPr lang="en-US" sz="7200" dirty="0"/>
            </a:br>
            <a:r>
              <a:rPr lang="en-US" sz="7200" dirty="0"/>
              <a:t>Microsoft Fabric?</a:t>
            </a:r>
            <a:endParaRPr lang="nl-BE" sz="7200" b="1" dirty="0"/>
          </a:p>
        </p:txBody>
      </p:sp>
    </p:spTree>
    <p:extLst>
      <p:ext uri="{BB962C8B-B14F-4D97-AF65-F5344CB8AC3E}">
        <p14:creationId xmlns:p14="http://schemas.microsoft.com/office/powerpoint/2010/main" val="396489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ingestion</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9225215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D555AA-2925-A826-289E-2B0AAE799BC0}"/>
              </a:ext>
            </a:extLst>
          </p:cNvPr>
          <p:cNvSpPr>
            <a:spLocks noGrp="1"/>
          </p:cNvSpPr>
          <p:nvPr>
            <p:ph type="title"/>
          </p:nvPr>
        </p:nvSpPr>
        <p:spPr/>
        <p:txBody>
          <a:bodyPr/>
          <a:lstStyle/>
          <a:p>
            <a:endParaRPr lang="nl-BE"/>
          </a:p>
        </p:txBody>
      </p:sp>
      <p:grpSp>
        <p:nvGrpSpPr>
          <p:cNvPr id="25" name="Group 24">
            <a:extLst>
              <a:ext uri="{FF2B5EF4-FFF2-40B4-BE49-F238E27FC236}">
                <a16:creationId xmlns:a16="http://schemas.microsoft.com/office/drawing/2014/main" id="{72A1764D-4314-9FD9-6B16-D2EA3CA3CB35}"/>
              </a:ext>
            </a:extLst>
          </p:cNvPr>
          <p:cNvGrpSpPr/>
          <p:nvPr/>
        </p:nvGrpSpPr>
        <p:grpSpPr>
          <a:xfrm>
            <a:off x="9402916" y="2427854"/>
            <a:ext cx="2204884" cy="2204884"/>
            <a:chOff x="9402916" y="2427854"/>
            <a:chExt cx="2204884" cy="2204884"/>
          </a:xfrm>
        </p:grpSpPr>
        <p:sp>
          <p:nvSpPr>
            <p:cNvPr id="26" name="Rectangle: Rounded Corners 25">
              <a:extLst>
                <a:ext uri="{FF2B5EF4-FFF2-40B4-BE49-F238E27FC236}">
                  <a16:creationId xmlns:a16="http://schemas.microsoft.com/office/drawing/2014/main" id="{F221C5D4-1F6E-581E-ADEB-4E9A7A285F1B}"/>
                </a:ext>
              </a:extLst>
            </p:cNvPr>
            <p:cNvSpPr/>
            <p:nvPr/>
          </p:nvSpPr>
          <p:spPr bwMode="auto">
            <a:xfrm>
              <a:off x="9402916" y="2427854"/>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81A77E89-702B-F1EE-BF8E-237632D376D4}"/>
                </a:ext>
              </a:extLst>
            </p:cNvPr>
            <p:cNvSpPr txBox="1"/>
            <p:nvPr/>
          </p:nvSpPr>
          <p:spPr>
            <a:xfrm>
              <a:off x="9874770" y="3873197"/>
              <a:ext cx="1229504" cy="307777"/>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Data Flows</a:t>
              </a:r>
            </a:p>
          </p:txBody>
        </p:sp>
      </p:grpSp>
      <p:grpSp>
        <p:nvGrpSpPr>
          <p:cNvPr id="28" name="Group 27">
            <a:extLst>
              <a:ext uri="{FF2B5EF4-FFF2-40B4-BE49-F238E27FC236}">
                <a16:creationId xmlns:a16="http://schemas.microsoft.com/office/drawing/2014/main" id="{03CB20EF-F11F-8205-19A5-C48A2DF3B3AF}"/>
              </a:ext>
            </a:extLst>
          </p:cNvPr>
          <p:cNvGrpSpPr/>
          <p:nvPr/>
        </p:nvGrpSpPr>
        <p:grpSpPr>
          <a:xfrm>
            <a:off x="6463344" y="2424171"/>
            <a:ext cx="2204884" cy="2204884"/>
            <a:chOff x="584200" y="2424171"/>
            <a:chExt cx="2204884" cy="2204884"/>
          </a:xfrm>
        </p:grpSpPr>
        <p:sp>
          <p:nvSpPr>
            <p:cNvPr id="29" name="Rectangle: Rounded Corners 28">
              <a:extLst>
                <a:ext uri="{FF2B5EF4-FFF2-40B4-BE49-F238E27FC236}">
                  <a16:creationId xmlns:a16="http://schemas.microsoft.com/office/drawing/2014/main" id="{B7327DBB-3903-1CA3-F915-1DA9389E5AE6}"/>
                </a:ext>
              </a:extLst>
            </p:cNvPr>
            <p:cNvSpPr/>
            <p:nvPr/>
          </p:nvSpPr>
          <p:spPr bwMode="auto">
            <a:xfrm>
              <a:off x="58420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F18E89F5-C624-163D-028D-62E7B6AAF65F}"/>
                </a:ext>
              </a:extLst>
            </p:cNvPr>
            <p:cNvSpPr txBox="1"/>
            <p:nvPr/>
          </p:nvSpPr>
          <p:spPr>
            <a:xfrm>
              <a:off x="709561" y="4075991"/>
              <a:ext cx="1960716"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Data pipelines</a:t>
              </a:r>
            </a:p>
          </p:txBody>
        </p:sp>
      </p:grpSp>
      <p:grpSp>
        <p:nvGrpSpPr>
          <p:cNvPr id="31" name="Group 30">
            <a:extLst>
              <a:ext uri="{FF2B5EF4-FFF2-40B4-BE49-F238E27FC236}">
                <a16:creationId xmlns:a16="http://schemas.microsoft.com/office/drawing/2014/main" id="{1310ED3B-0E57-138C-E67B-5ED6649F3D37}"/>
              </a:ext>
            </a:extLst>
          </p:cNvPr>
          <p:cNvGrpSpPr/>
          <p:nvPr/>
        </p:nvGrpSpPr>
        <p:grpSpPr>
          <a:xfrm>
            <a:off x="584200" y="2424171"/>
            <a:ext cx="2204884" cy="2204884"/>
            <a:chOff x="584200" y="2424171"/>
            <a:chExt cx="2204884" cy="2204884"/>
          </a:xfrm>
        </p:grpSpPr>
        <p:sp>
          <p:nvSpPr>
            <p:cNvPr id="32" name="Rectangle: Rounded Corners 31">
              <a:extLst>
                <a:ext uri="{FF2B5EF4-FFF2-40B4-BE49-F238E27FC236}">
                  <a16:creationId xmlns:a16="http://schemas.microsoft.com/office/drawing/2014/main" id="{52A5287E-AD0D-B760-F1AD-AF06C2AB9EBD}"/>
                </a:ext>
              </a:extLst>
            </p:cNvPr>
            <p:cNvSpPr/>
            <p:nvPr/>
          </p:nvSpPr>
          <p:spPr bwMode="auto">
            <a:xfrm>
              <a:off x="58420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3C43A897-8393-5B23-E8A2-D289BC02A38D}"/>
                </a:ext>
              </a:extLst>
            </p:cNvPr>
            <p:cNvSpPr txBox="1"/>
            <p:nvPr/>
          </p:nvSpPr>
          <p:spPr>
            <a:xfrm>
              <a:off x="1060861" y="4075991"/>
              <a:ext cx="1251561" cy="307777"/>
            </a:xfrm>
            <a:prstGeom prst="rect">
              <a:avLst/>
            </a:prstGeom>
            <a:noFill/>
          </p:spPr>
          <p:txBody>
            <a:bodyPr wrap="non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Notebooks</a:t>
              </a:r>
            </a:p>
          </p:txBody>
        </p:sp>
      </p:grpSp>
      <p:grpSp>
        <p:nvGrpSpPr>
          <p:cNvPr id="34" name="Group 33">
            <a:extLst>
              <a:ext uri="{FF2B5EF4-FFF2-40B4-BE49-F238E27FC236}">
                <a16:creationId xmlns:a16="http://schemas.microsoft.com/office/drawing/2014/main" id="{B50A8FA5-2DF6-93C9-82A3-8AC87E3645F5}"/>
              </a:ext>
            </a:extLst>
          </p:cNvPr>
          <p:cNvGrpSpPr/>
          <p:nvPr/>
        </p:nvGrpSpPr>
        <p:grpSpPr>
          <a:xfrm>
            <a:off x="3523772" y="2424171"/>
            <a:ext cx="2204884" cy="2204884"/>
            <a:chOff x="3410280" y="2424171"/>
            <a:chExt cx="2204884" cy="2204884"/>
          </a:xfrm>
        </p:grpSpPr>
        <p:sp>
          <p:nvSpPr>
            <p:cNvPr id="35" name="Rectangle: Rounded Corners 34">
              <a:extLst>
                <a:ext uri="{FF2B5EF4-FFF2-40B4-BE49-F238E27FC236}">
                  <a16:creationId xmlns:a16="http://schemas.microsoft.com/office/drawing/2014/main" id="{29B78CD9-8DF1-4C44-6DCE-7212E842364C}"/>
                </a:ext>
              </a:extLst>
            </p:cNvPr>
            <p:cNvSpPr/>
            <p:nvPr/>
          </p:nvSpPr>
          <p:spPr bwMode="auto">
            <a:xfrm>
              <a:off x="3410280" y="2424171"/>
              <a:ext cx="2204884" cy="2204884"/>
            </a:xfrm>
            <a:prstGeom prst="roundRect">
              <a:avLst>
                <a:gd name="adj" fmla="val 2620"/>
              </a:avLst>
            </a:prstGeom>
            <a:solidFill>
              <a:srgbClr val="FFFFFF"/>
            </a:solidFill>
            <a:ln w="9525" cap="flat" cmpd="sng" algn="ctr">
              <a:solidFill>
                <a:srgbClr val="FFFFFF">
                  <a:lumMod val="85000"/>
                </a:srgb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40DD254E-3A0A-6356-22C2-B632CD15D990}"/>
                </a:ext>
              </a:extLst>
            </p:cNvPr>
            <p:cNvSpPr txBox="1"/>
            <p:nvPr/>
          </p:nvSpPr>
          <p:spPr>
            <a:xfrm>
              <a:off x="3886941" y="3869514"/>
              <a:ext cx="1219886" cy="615553"/>
            </a:xfrm>
            <a:prstGeom prst="rect">
              <a:avLst/>
            </a:prstGeom>
            <a:noFill/>
          </p:spPr>
          <p:txBody>
            <a:bodyPr wrap="non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Spark Job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cs typeface="+mn-cs"/>
                </a:rPr>
                <a:t>Definitions</a:t>
              </a:r>
            </a:p>
          </p:txBody>
        </p:sp>
      </p:grpSp>
      <p:cxnSp>
        <p:nvCxnSpPr>
          <p:cNvPr id="37" name="Straight Connector 36">
            <a:extLst>
              <a:ext uri="{FF2B5EF4-FFF2-40B4-BE49-F238E27FC236}">
                <a16:creationId xmlns:a16="http://schemas.microsoft.com/office/drawing/2014/main" id="{DAC94306-15F9-7F2D-0E9F-E9EF90DD4C48}"/>
              </a:ext>
            </a:extLst>
          </p:cNvPr>
          <p:cNvCxnSpPr>
            <a:cxnSpLocks/>
          </p:cNvCxnSpPr>
          <p:nvPr/>
        </p:nvCxnSpPr>
        <p:spPr>
          <a:xfrm>
            <a:off x="584200" y="4934465"/>
            <a:ext cx="5144456" cy="0"/>
          </a:xfrm>
          <a:prstGeom prst="line">
            <a:avLst/>
          </a:prstGeom>
          <a:noFill/>
          <a:ln w="38100" cap="flat" cmpd="sng" algn="ctr">
            <a:solidFill>
              <a:srgbClr val="49C5B1">
                <a:lumMod val="50000"/>
              </a:srgbClr>
            </a:solidFill>
            <a:prstDash val="solid"/>
            <a:headEnd type="none" w="lg" len="med"/>
            <a:tailEnd type="none" w="lg" len="med"/>
          </a:ln>
          <a:effectLst/>
        </p:spPr>
      </p:cxnSp>
      <p:sp>
        <p:nvSpPr>
          <p:cNvPr id="38" name="TextBox 37">
            <a:extLst>
              <a:ext uri="{FF2B5EF4-FFF2-40B4-BE49-F238E27FC236}">
                <a16:creationId xmlns:a16="http://schemas.microsoft.com/office/drawing/2014/main" id="{826198DD-78BB-8515-2F79-9AEE022B29C4}"/>
              </a:ext>
            </a:extLst>
          </p:cNvPr>
          <p:cNvSpPr txBox="1"/>
          <p:nvPr/>
        </p:nvSpPr>
        <p:spPr>
          <a:xfrm>
            <a:off x="1930226" y="5159919"/>
            <a:ext cx="2452403"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Code-based pipelines</a:t>
            </a:r>
          </a:p>
        </p:txBody>
      </p:sp>
      <p:cxnSp>
        <p:nvCxnSpPr>
          <p:cNvPr id="39" name="Straight Connector 38">
            <a:extLst>
              <a:ext uri="{FF2B5EF4-FFF2-40B4-BE49-F238E27FC236}">
                <a16:creationId xmlns:a16="http://schemas.microsoft.com/office/drawing/2014/main" id="{C0F01595-6661-215A-FC20-6181DA58C18C}"/>
              </a:ext>
            </a:extLst>
          </p:cNvPr>
          <p:cNvCxnSpPr>
            <a:cxnSpLocks/>
          </p:cNvCxnSpPr>
          <p:nvPr/>
        </p:nvCxnSpPr>
        <p:spPr>
          <a:xfrm>
            <a:off x="6588705" y="4934465"/>
            <a:ext cx="5144456" cy="0"/>
          </a:xfrm>
          <a:prstGeom prst="line">
            <a:avLst/>
          </a:prstGeom>
          <a:noFill/>
          <a:ln w="38100" cap="flat" cmpd="sng" algn="ctr">
            <a:solidFill>
              <a:srgbClr val="49C5B1">
                <a:lumMod val="50000"/>
              </a:srgbClr>
            </a:solidFill>
            <a:prstDash val="solid"/>
            <a:headEnd type="none" w="lg" len="med"/>
            <a:tailEnd type="none" w="lg" len="med"/>
          </a:ln>
          <a:effectLst/>
        </p:spPr>
      </p:cxnSp>
      <p:sp>
        <p:nvSpPr>
          <p:cNvPr id="40" name="TextBox 39">
            <a:extLst>
              <a:ext uri="{FF2B5EF4-FFF2-40B4-BE49-F238E27FC236}">
                <a16:creationId xmlns:a16="http://schemas.microsoft.com/office/drawing/2014/main" id="{61780B53-8D5B-1D8C-E191-EDC361AE42D9}"/>
              </a:ext>
            </a:extLst>
          </p:cNvPr>
          <p:cNvSpPr txBox="1"/>
          <p:nvPr/>
        </p:nvSpPr>
        <p:spPr>
          <a:xfrm>
            <a:off x="7934731" y="5159919"/>
            <a:ext cx="2102948" cy="307777"/>
          </a:xfrm>
          <a:prstGeom prst="rect">
            <a:avLst/>
          </a:prstGeom>
          <a:noFill/>
        </p:spPr>
        <p:txBody>
          <a:bodyPr wrap="none" lIns="0" tIns="0" rIns="0" bIns="0" rtlCol="0">
            <a:spAutoFit/>
          </a:bodyPr>
          <a:lstStyle/>
          <a:p>
            <a:pPr defTabSz="914367" fontAlgn="auto">
              <a:spcBef>
                <a:spcPts val="0"/>
              </a:spcBef>
              <a:spcAft>
                <a:spcPts val="0"/>
              </a:spcAft>
            </a:pPr>
            <a:r>
              <a:rPr lang="en-US" sz="2000" b="0">
                <a:solidFill>
                  <a:srgbClr val="49C5B1">
                    <a:lumMod val="50000"/>
                  </a:srgbClr>
                </a:solidFill>
                <a:latin typeface="Segoe UI"/>
                <a:cs typeface="+mn-cs"/>
              </a:rPr>
              <a:t>UI-based pipelines</a:t>
            </a:r>
          </a:p>
        </p:txBody>
      </p:sp>
      <p:pic>
        <p:nvPicPr>
          <p:cNvPr id="41" name="Graphic 40">
            <a:extLst>
              <a:ext uri="{FF2B5EF4-FFF2-40B4-BE49-F238E27FC236}">
                <a16:creationId xmlns:a16="http://schemas.microsoft.com/office/drawing/2014/main" id="{3612AA31-EFDC-D227-BA39-524DDC4AFC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7210" y="3009568"/>
            <a:ext cx="838864" cy="838864"/>
          </a:xfrm>
          <a:prstGeom prst="rect">
            <a:avLst/>
          </a:prstGeom>
        </p:spPr>
      </p:pic>
      <p:pic>
        <p:nvPicPr>
          <p:cNvPr id="42" name="Graphic 41">
            <a:extLst>
              <a:ext uri="{FF2B5EF4-FFF2-40B4-BE49-F238E27FC236}">
                <a16:creationId xmlns:a16="http://schemas.microsoft.com/office/drawing/2014/main" id="{5F9C3D77-4250-3EEE-D72C-852B2442BB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7832" y="3048015"/>
            <a:ext cx="736765" cy="736765"/>
          </a:xfrm>
          <a:prstGeom prst="rect">
            <a:avLst/>
          </a:prstGeom>
        </p:spPr>
      </p:pic>
      <p:pic>
        <p:nvPicPr>
          <p:cNvPr id="43" name="Graphic 42">
            <a:extLst>
              <a:ext uri="{FF2B5EF4-FFF2-40B4-BE49-F238E27FC236}">
                <a16:creationId xmlns:a16="http://schemas.microsoft.com/office/drawing/2014/main" id="{EEA7EC75-25E7-B518-85D3-CA4253F60FC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7404" y="3058618"/>
            <a:ext cx="736765" cy="736765"/>
          </a:xfrm>
          <a:prstGeom prst="rect">
            <a:avLst/>
          </a:prstGeom>
        </p:spPr>
      </p:pic>
      <p:pic>
        <p:nvPicPr>
          <p:cNvPr id="44" name="Picture 43">
            <a:extLst>
              <a:ext uri="{FF2B5EF4-FFF2-40B4-BE49-F238E27FC236}">
                <a16:creationId xmlns:a16="http://schemas.microsoft.com/office/drawing/2014/main" id="{E8E03289-9DD8-30BD-7FA8-43A835E89EA5}"/>
              </a:ext>
            </a:extLst>
          </p:cNvPr>
          <p:cNvPicPr>
            <a:picLocks noChangeAspect="1"/>
          </p:cNvPicPr>
          <p:nvPr/>
        </p:nvPicPr>
        <p:blipFill>
          <a:blip r:embed="rId9">
            <a:clrChange>
              <a:clrFrom>
                <a:srgbClr val="FAFAFA"/>
              </a:clrFrom>
              <a:clrTo>
                <a:srgbClr val="FAFAFA">
                  <a:alpha val="0"/>
                </a:srgbClr>
              </a:clrTo>
            </a:clrChange>
            <a:biLevel thresh="75000"/>
          </a:blip>
          <a:stretch>
            <a:fillRect/>
          </a:stretch>
        </p:blipFill>
        <p:spPr>
          <a:xfrm>
            <a:off x="10093843" y="2959871"/>
            <a:ext cx="823031" cy="922100"/>
          </a:xfrm>
          <a:prstGeom prst="rect">
            <a:avLst/>
          </a:prstGeom>
        </p:spPr>
      </p:pic>
    </p:spTree>
    <p:extLst>
      <p:ext uri="{BB962C8B-B14F-4D97-AF65-F5344CB8AC3E}">
        <p14:creationId xmlns:p14="http://schemas.microsoft.com/office/powerpoint/2010/main" val="2888553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D555AA-2925-A826-289E-2B0AAE799BC0}"/>
              </a:ext>
            </a:extLst>
          </p:cNvPr>
          <p:cNvSpPr>
            <a:spLocks noGrp="1"/>
          </p:cNvSpPr>
          <p:nvPr>
            <p:ph type="title"/>
          </p:nvPr>
        </p:nvSpPr>
        <p:spPr/>
        <p:txBody>
          <a:bodyPr/>
          <a:lstStyle/>
          <a:p>
            <a:endParaRPr lang="nl-BE"/>
          </a:p>
        </p:txBody>
      </p:sp>
      <p:pic>
        <p:nvPicPr>
          <p:cNvPr id="2" name="Picture 1">
            <a:extLst>
              <a:ext uri="{FF2B5EF4-FFF2-40B4-BE49-F238E27FC236}">
                <a16:creationId xmlns:a16="http://schemas.microsoft.com/office/drawing/2014/main" id="{FC4688B3-5487-0368-2E6D-C268E074F2AF}"/>
              </a:ext>
            </a:extLst>
          </p:cNvPr>
          <p:cNvPicPr>
            <a:picLocks noChangeAspect="1"/>
          </p:cNvPicPr>
          <p:nvPr/>
        </p:nvPicPr>
        <p:blipFill>
          <a:blip r:embed="rId2"/>
          <a:stretch>
            <a:fillRect/>
          </a:stretch>
        </p:blipFill>
        <p:spPr>
          <a:xfrm>
            <a:off x="953188" y="1083733"/>
            <a:ext cx="10285624" cy="5401734"/>
          </a:xfrm>
          <a:prstGeom prst="rect">
            <a:avLst/>
          </a:prstGeom>
        </p:spPr>
      </p:pic>
    </p:spTree>
    <p:extLst>
      <p:ext uri="{BB962C8B-B14F-4D97-AF65-F5344CB8AC3E}">
        <p14:creationId xmlns:p14="http://schemas.microsoft.com/office/powerpoint/2010/main" val="18651791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43079-9659-72C5-B34F-DA0A62755675}"/>
              </a:ext>
            </a:extLst>
          </p:cNvPr>
          <p:cNvSpPr>
            <a:spLocks noGrp="1"/>
          </p:cNvSpPr>
          <p:nvPr>
            <p:ph type="title"/>
          </p:nvPr>
        </p:nvSpPr>
        <p:spPr/>
        <p:txBody>
          <a:bodyPr/>
          <a:lstStyle/>
          <a:p>
            <a:endParaRPr lang="nl-BE"/>
          </a:p>
        </p:txBody>
      </p:sp>
      <p:pic>
        <p:nvPicPr>
          <p:cNvPr id="3" name="Picture Placeholder 4">
            <a:extLst>
              <a:ext uri="{FF2B5EF4-FFF2-40B4-BE49-F238E27FC236}">
                <a16:creationId xmlns:a16="http://schemas.microsoft.com/office/drawing/2014/main" id="{C65C278F-B802-E2AD-3553-9483B4769340}"/>
              </a:ext>
            </a:extLst>
          </p:cNvPr>
          <p:cNvPicPr>
            <a:picLocks noChangeAspect="1"/>
          </p:cNvPicPr>
          <p:nvPr/>
        </p:nvPicPr>
        <p:blipFill rotWithShape="1">
          <a:blip r:embed="rId2"/>
          <a:srcRect t="9091" b="9091"/>
          <a:stretch/>
        </p:blipFill>
        <p:spPr>
          <a:xfrm>
            <a:off x="488241" y="664489"/>
            <a:ext cx="11604625" cy="5711234"/>
          </a:xfrm>
          <a:prstGeom prst="rect">
            <a:avLst/>
          </a:prstGeom>
        </p:spPr>
      </p:pic>
    </p:spTree>
    <p:extLst>
      <p:ext uri="{BB962C8B-B14F-4D97-AF65-F5344CB8AC3E}">
        <p14:creationId xmlns:p14="http://schemas.microsoft.com/office/powerpoint/2010/main" val="9233616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E76AC-75F1-67F1-905D-AD0A271A9292}"/>
              </a:ext>
            </a:extLst>
          </p:cNvPr>
          <p:cNvSpPr>
            <a:spLocks noGrp="1"/>
          </p:cNvSpPr>
          <p:nvPr>
            <p:ph type="title"/>
          </p:nvPr>
        </p:nvSpPr>
        <p:spPr/>
        <p:txBody>
          <a:bodyPr/>
          <a:lstStyle/>
          <a:p>
            <a:endParaRPr lang="nl-BE"/>
          </a:p>
        </p:txBody>
      </p:sp>
      <p:pic>
        <p:nvPicPr>
          <p:cNvPr id="3" name="Picture Placeholder 7" descr="A screenshot of a computer&#10;&#10;Description automatically generated">
            <a:extLst>
              <a:ext uri="{FF2B5EF4-FFF2-40B4-BE49-F238E27FC236}">
                <a16:creationId xmlns:a16="http://schemas.microsoft.com/office/drawing/2014/main" id="{DC1E6E34-663A-89F4-1E70-50463783F16A}"/>
              </a:ext>
            </a:extLst>
          </p:cNvPr>
          <p:cNvPicPr>
            <a:picLocks noChangeAspect="1"/>
          </p:cNvPicPr>
          <p:nvPr/>
        </p:nvPicPr>
        <p:blipFill>
          <a:blip r:embed="rId2"/>
          <a:srcRect t="6220" b="6220"/>
          <a:stretch>
            <a:fillRect/>
          </a:stretch>
        </p:blipFill>
        <p:spPr>
          <a:xfrm>
            <a:off x="293688" y="860093"/>
            <a:ext cx="11604625" cy="5711234"/>
          </a:xfrm>
          <a:prstGeom prst="rect">
            <a:avLst/>
          </a:prstGeom>
        </p:spPr>
      </p:pic>
    </p:spTree>
    <p:extLst>
      <p:ext uri="{BB962C8B-B14F-4D97-AF65-F5344CB8AC3E}">
        <p14:creationId xmlns:p14="http://schemas.microsoft.com/office/powerpoint/2010/main" val="7141181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E76AC-75F1-67F1-905D-AD0A271A9292}"/>
              </a:ext>
            </a:extLst>
          </p:cNvPr>
          <p:cNvSpPr>
            <a:spLocks noGrp="1"/>
          </p:cNvSpPr>
          <p:nvPr>
            <p:ph type="title"/>
          </p:nvPr>
        </p:nvSpPr>
        <p:spPr/>
        <p:txBody>
          <a:bodyPr/>
          <a:lstStyle/>
          <a:p>
            <a:endParaRPr lang="nl-BE"/>
          </a:p>
        </p:txBody>
      </p:sp>
      <p:pic>
        <p:nvPicPr>
          <p:cNvPr id="4" name="20230417-0913-59.4581990">
            <a:hlinkClick r:id="" action="ppaction://media"/>
            <a:extLst>
              <a:ext uri="{FF2B5EF4-FFF2-40B4-BE49-F238E27FC236}">
                <a16:creationId xmlns:a16="http://schemas.microsoft.com/office/drawing/2014/main" id="{5356D517-A7B3-743F-E195-0A08C672ABC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09625" y="886129"/>
            <a:ext cx="10544175" cy="5554663"/>
          </a:xfrm>
          <a:prstGeom prst="rect">
            <a:avLst/>
          </a:prstGeom>
        </p:spPr>
      </p:pic>
    </p:spTree>
    <p:extLst>
      <p:ext uri="{BB962C8B-B14F-4D97-AF65-F5344CB8AC3E}">
        <p14:creationId xmlns:p14="http://schemas.microsoft.com/office/powerpoint/2010/main" val="5117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CD107-4334-E3DE-21F1-49ED5242278A}"/>
              </a:ext>
            </a:extLst>
          </p:cNvPr>
          <p:cNvSpPr>
            <a:spLocks noGrp="1"/>
          </p:cNvSpPr>
          <p:nvPr>
            <p:ph type="title"/>
          </p:nvPr>
        </p:nvSpPr>
        <p:spPr/>
        <p:txBody>
          <a:bodyPr/>
          <a:lstStyle/>
          <a:p>
            <a:endParaRPr lang="nl-BE"/>
          </a:p>
        </p:txBody>
      </p:sp>
      <p:pic>
        <p:nvPicPr>
          <p:cNvPr id="4" name="Picture 3">
            <a:extLst>
              <a:ext uri="{FF2B5EF4-FFF2-40B4-BE49-F238E27FC236}">
                <a16:creationId xmlns:a16="http://schemas.microsoft.com/office/drawing/2014/main" id="{1705263C-E9F6-55CE-6CB8-3439C148DC0B}"/>
              </a:ext>
            </a:extLst>
          </p:cNvPr>
          <p:cNvPicPr>
            <a:picLocks noChangeAspect="1"/>
          </p:cNvPicPr>
          <p:nvPr/>
        </p:nvPicPr>
        <p:blipFill>
          <a:blip r:embed="rId2"/>
          <a:stretch>
            <a:fillRect/>
          </a:stretch>
        </p:blipFill>
        <p:spPr>
          <a:xfrm>
            <a:off x="838200" y="396455"/>
            <a:ext cx="7306952" cy="4119557"/>
          </a:xfrm>
          <a:prstGeom prst="rect">
            <a:avLst/>
          </a:prstGeom>
        </p:spPr>
      </p:pic>
      <p:pic>
        <p:nvPicPr>
          <p:cNvPr id="6" name="Picture 5">
            <a:extLst>
              <a:ext uri="{FF2B5EF4-FFF2-40B4-BE49-F238E27FC236}">
                <a16:creationId xmlns:a16="http://schemas.microsoft.com/office/drawing/2014/main" id="{79BD04EF-7A83-E0F9-7B1D-A610E4EBED99}"/>
              </a:ext>
            </a:extLst>
          </p:cNvPr>
          <p:cNvPicPr>
            <a:picLocks noChangeAspect="1"/>
          </p:cNvPicPr>
          <p:nvPr/>
        </p:nvPicPr>
        <p:blipFill>
          <a:blip r:embed="rId3"/>
          <a:stretch>
            <a:fillRect/>
          </a:stretch>
        </p:blipFill>
        <p:spPr>
          <a:xfrm>
            <a:off x="5664627" y="3054618"/>
            <a:ext cx="4961050" cy="3475021"/>
          </a:xfrm>
          <a:prstGeom prst="rect">
            <a:avLst/>
          </a:prstGeom>
        </p:spPr>
      </p:pic>
    </p:spTree>
    <p:extLst>
      <p:ext uri="{BB962C8B-B14F-4D97-AF65-F5344CB8AC3E}">
        <p14:creationId xmlns:p14="http://schemas.microsoft.com/office/powerpoint/2010/main" val="3737642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4">
            <a:extLst>
              <a:ext uri="{FF2B5EF4-FFF2-40B4-BE49-F238E27FC236}">
                <a16:creationId xmlns:a16="http://schemas.microsoft.com/office/drawing/2014/main" id="{BA45279D-1CCB-C7B9-47A5-BBC8A0FD97D0}"/>
              </a:ext>
            </a:extLst>
          </p:cNvPr>
          <p:cNvPicPr>
            <a:picLocks noChangeAspect="1"/>
          </p:cNvPicPr>
          <p:nvPr/>
        </p:nvPicPr>
        <p:blipFill rotWithShape="1">
          <a:blip r:embed="rId3"/>
          <a:srcRect l="297" r="297"/>
          <a:stretch/>
        </p:blipFill>
        <p:spPr>
          <a:xfrm>
            <a:off x="293687" y="573383"/>
            <a:ext cx="11604625" cy="5711234"/>
          </a:xfrm>
          <a:prstGeom prst="rect">
            <a:avLst/>
          </a:prstGeom>
        </p:spPr>
      </p:pic>
    </p:spTree>
    <p:extLst>
      <p:ext uri="{BB962C8B-B14F-4D97-AF65-F5344CB8AC3E}">
        <p14:creationId xmlns:p14="http://schemas.microsoft.com/office/powerpoint/2010/main" val="20123038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DBE20-23A3-848D-01E0-25B9F5CED3C3}"/>
              </a:ext>
            </a:extLst>
          </p:cNvPr>
          <p:cNvSpPr>
            <a:spLocks noGrp="1"/>
          </p:cNvSpPr>
          <p:nvPr>
            <p:ph type="title"/>
          </p:nvPr>
        </p:nvSpPr>
        <p:spPr/>
        <p:txBody>
          <a:bodyPr/>
          <a:lstStyle/>
          <a:p>
            <a:r>
              <a:rPr lang="en-US" dirty="0"/>
              <a:t>mirroring</a:t>
            </a:r>
            <a:endParaRPr lang="nl-BE" dirty="0"/>
          </a:p>
        </p:txBody>
      </p:sp>
      <p:pic>
        <p:nvPicPr>
          <p:cNvPr id="4" name="Picture 3">
            <a:extLst>
              <a:ext uri="{FF2B5EF4-FFF2-40B4-BE49-F238E27FC236}">
                <a16:creationId xmlns:a16="http://schemas.microsoft.com/office/drawing/2014/main" id="{E31C250C-C4B0-B37F-2A0A-30CA273A8A33}"/>
              </a:ext>
            </a:extLst>
          </p:cNvPr>
          <p:cNvPicPr>
            <a:picLocks noChangeAspect="1"/>
          </p:cNvPicPr>
          <p:nvPr/>
        </p:nvPicPr>
        <p:blipFill>
          <a:blip r:embed="rId2"/>
          <a:stretch>
            <a:fillRect/>
          </a:stretch>
        </p:blipFill>
        <p:spPr>
          <a:xfrm>
            <a:off x="1203790" y="1289981"/>
            <a:ext cx="9784420" cy="5263408"/>
          </a:xfrm>
          <a:prstGeom prst="rect">
            <a:avLst/>
          </a:prstGeom>
        </p:spPr>
      </p:pic>
    </p:spTree>
    <p:extLst>
      <p:ext uri="{BB962C8B-B14F-4D97-AF65-F5344CB8AC3E}">
        <p14:creationId xmlns:p14="http://schemas.microsoft.com/office/powerpoint/2010/main" val="21791873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data scienc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1592982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46B91C-F846-F395-5F9C-9FA1A5B7E84B}"/>
              </a:ext>
            </a:extLst>
          </p:cNvPr>
          <p:cNvSpPr>
            <a:spLocks noGrp="1"/>
          </p:cNvSpPr>
          <p:nvPr>
            <p:ph type="ctrTitle"/>
          </p:nvPr>
        </p:nvSpPr>
        <p:spPr/>
        <p:txBody>
          <a:bodyPr>
            <a:normAutofit fontScale="90000"/>
          </a:bodyPr>
          <a:lstStyle/>
          <a:p>
            <a:pPr algn="l"/>
            <a:r>
              <a:rPr lang="en-US" dirty="0"/>
              <a:t>I am the Chief Data Officer and don’t want to be the Chief Integration Officer</a:t>
            </a:r>
            <a:endParaRPr lang="nl-BE" dirty="0"/>
          </a:p>
        </p:txBody>
      </p:sp>
      <p:sp>
        <p:nvSpPr>
          <p:cNvPr id="5" name="TextBox 4">
            <a:extLst>
              <a:ext uri="{FF2B5EF4-FFF2-40B4-BE49-F238E27FC236}">
                <a16:creationId xmlns:a16="http://schemas.microsoft.com/office/drawing/2014/main" id="{86E6BFE8-EAD9-4A57-9BC0-30ADA2ABAD02}"/>
              </a:ext>
            </a:extLst>
          </p:cNvPr>
          <p:cNvSpPr txBox="1"/>
          <p:nvPr/>
        </p:nvSpPr>
        <p:spPr>
          <a:xfrm>
            <a:off x="1190625" y="5743575"/>
            <a:ext cx="5438775" cy="461665"/>
          </a:xfrm>
          <a:prstGeom prst="rect">
            <a:avLst/>
          </a:prstGeom>
          <a:noFill/>
        </p:spPr>
        <p:txBody>
          <a:bodyPr wrap="square" rtlCol="0">
            <a:spAutoFit/>
          </a:bodyPr>
          <a:lstStyle/>
          <a:p>
            <a:r>
              <a:rPr lang="en-US" sz="2400" b="0" dirty="0">
                <a:latin typeface="+mn-lt"/>
              </a:rPr>
              <a:t>Every CDO in every enterprise</a:t>
            </a:r>
            <a:endParaRPr lang="nl-BE" sz="2400" b="0" dirty="0">
              <a:latin typeface="+mn-lt"/>
            </a:endParaRPr>
          </a:p>
        </p:txBody>
      </p:sp>
    </p:spTree>
    <p:extLst>
      <p:ext uri="{BB962C8B-B14F-4D97-AF65-F5344CB8AC3E}">
        <p14:creationId xmlns:p14="http://schemas.microsoft.com/office/powerpoint/2010/main" val="27463777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7480E547-83A0-9354-704E-5A9E640C7260}"/>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FR"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Notebooks</a:t>
            </a:r>
          </a:p>
        </p:txBody>
      </p:sp>
      <p:pic>
        <p:nvPicPr>
          <p:cNvPr id="8" name="Notebooks.mp4">
            <a:hlinkClick r:id="" action="ppaction://media"/>
            <a:extLst>
              <a:ext uri="{FF2B5EF4-FFF2-40B4-BE49-F238E27FC236}">
                <a16:creationId xmlns:a16="http://schemas.microsoft.com/office/drawing/2014/main" id="{EE50EE4B-E77E-1A0F-7CA6-5497D045E99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59497" y="1016000"/>
            <a:ext cx="9873006" cy="5553566"/>
          </a:xfrm>
          <a:prstGeom prst="rect">
            <a:avLst/>
          </a:prstGeom>
        </p:spPr>
      </p:pic>
    </p:spTree>
    <p:extLst>
      <p:ext uri="{BB962C8B-B14F-4D97-AF65-F5344CB8AC3E}">
        <p14:creationId xmlns:p14="http://schemas.microsoft.com/office/powerpoint/2010/main" val="1695156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67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73D1818-CA1B-ABF1-88FB-E41C99CFDAB5}"/>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FR"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Data Wrangler</a:t>
            </a:r>
          </a:p>
        </p:txBody>
      </p:sp>
      <p:pic>
        <p:nvPicPr>
          <p:cNvPr id="5" name="Picture 4" descr="A screenshot of a computer&#10;&#10;Description automatically generated">
            <a:extLst>
              <a:ext uri="{FF2B5EF4-FFF2-40B4-BE49-F238E27FC236}">
                <a16:creationId xmlns:a16="http://schemas.microsoft.com/office/drawing/2014/main" id="{6B8E5AC1-FC3E-8051-1F67-1BB617157958}"/>
              </a:ext>
            </a:extLst>
          </p:cNvPr>
          <p:cNvPicPr>
            <a:picLocks noChangeAspect="1"/>
          </p:cNvPicPr>
          <p:nvPr/>
        </p:nvPicPr>
        <p:blipFill>
          <a:blip r:embed="rId2"/>
          <a:stretch>
            <a:fillRect/>
          </a:stretch>
        </p:blipFill>
        <p:spPr>
          <a:xfrm>
            <a:off x="1607075" y="1218997"/>
            <a:ext cx="8977849" cy="5050041"/>
          </a:xfrm>
          <a:prstGeom prst="rect">
            <a:avLst/>
          </a:prstGeom>
        </p:spPr>
      </p:pic>
    </p:spTree>
    <p:extLst>
      <p:ext uri="{BB962C8B-B14F-4D97-AF65-F5344CB8AC3E}">
        <p14:creationId xmlns:p14="http://schemas.microsoft.com/office/powerpoint/2010/main" val="16196437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8" name="Rounded Rectangle 38">
            <a:extLst>
              <a:ext uri="{FF2B5EF4-FFF2-40B4-BE49-F238E27FC236}">
                <a16:creationId xmlns:a16="http://schemas.microsoft.com/office/drawing/2014/main" id="{789907BB-8A25-4507-79B4-B968083CCB3E}"/>
              </a:ext>
            </a:extLst>
          </p:cNvPr>
          <p:cNvSpPr/>
          <p:nvPr/>
        </p:nvSpPr>
        <p:spPr bwMode="auto">
          <a:xfrm>
            <a:off x="1219200" y="1709058"/>
            <a:ext cx="9753600" cy="4005942"/>
          </a:xfrm>
          <a:prstGeom prst="roundRect">
            <a:avLst>
              <a:gd name="adj" fmla="val 3641"/>
            </a:avLst>
          </a:prstGeom>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a:lnSpc>
                <a:spcPct val="90000"/>
              </a:lnSpc>
              <a:tabLst>
                <a:tab pos="5195888" algn="l"/>
              </a:tabLs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30" name="Title 1">
            <a:extLst>
              <a:ext uri="{FF2B5EF4-FFF2-40B4-BE49-F238E27FC236}">
                <a16:creationId xmlns:a16="http://schemas.microsoft.com/office/drawing/2014/main" id="{D4742254-2784-1337-8F51-703DBBA2E623}"/>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algn="ctr" fontAlgn="auto">
              <a:spcAft>
                <a:spcPts val="0"/>
              </a:spcAft>
            </a:pPr>
            <a:r>
              <a:rPr lang="en-US">
                <a:cs typeface="Segoe UI"/>
              </a:rPr>
              <a:t>Semantic Link: Data Science </a:t>
            </a:r>
            <a:r>
              <a:rPr lang="en-US">
                <a:ea typeface="+mj-lt"/>
                <a:cs typeface="Segoe UI"/>
              </a:rPr>
              <a:t>and </a:t>
            </a:r>
            <a:r>
              <a:rPr lang="en-US">
                <a:cs typeface="Segoe UI"/>
              </a:rPr>
              <a:t>BI</a:t>
            </a:r>
          </a:p>
        </p:txBody>
      </p:sp>
      <p:pic>
        <p:nvPicPr>
          <p:cNvPr id="31" name="Graphic 30">
            <a:extLst>
              <a:ext uri="{FF2B5EF4-FFF2-40B4-BE49-F238E27FC236}">
                <a16:creationId xmlns:a16="http://schemas.microsoft.com/office/drawing/2014/main" id="{82892BEA-CA07-3386-2DAB-5F9E3B3EFCDE}"/>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9171" t="88904" r="82736"/>
          <a:stretch/>
        </p:blipFill>
        <p:spPr>
          <a:xfrm>
            <a:off x="7115801" y="2139863"/>
            <a:ext cx="594956" cy="702916"/>
          </a:xfrm>
          <a:prstGeom prst="rect">
            <a:avLst/>
          </a:prstGeom>
        </p:spPr>
      </p:pic>
      <p:pic>
        <p:nvPicPr>
          <p:cNvPr id="32" name="Graphic 31">
            <a:extLst>
              <a:ext uri="{FF2B5EF4-FFF2-40B4-BE49-F238E27FC236}">
                <a16:creationId xmlns:a16="http://schemas.microsoft.com/office/drawing/2014/main" id="{A17A0B2D-27E9-43B1-C5CF-4C67FAD34FC1}"/>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95840" b="95733"/>
          <a:stretch/>
        </p:blipFill>
        <p:spPr>
          <a:xfrm>
            <a:off x="5734219" y="4371657"/>
            <a:ext cx="777952" cy="798145"/>
          </a:xfrm>
          <a:prstGeom prst="rect">
            <a:avLst/>
          </a:prstGeom>
        </p:spPr>
      </p:pic>
      <p:sp>
        <p:nvSpPr>
          <p:cNvPr id="33" name="TextBox 32">
            <a:extLst>
              <a:ext uri="{FF2B5EF4-FFF2-40B4-BE49-F238E27FC236}">
                <a16:creationId xmlns:a16="http://schemas.microsoft.com/office/drawing/2014/main" id="{0600E0D1-1D05-115C-6C55-FCB491AC14DE}"/>
              </a:ext>
            </a:extLst>
          </p:cNvPr>
          <p:cNvSpPr txBox="1"/>
          <p:nvPr/>
        </p:nvSpPr>
        <p:spPr>
          <a:xfrm>
            <a:off x="6747407" y="2871183"/>
            <a:ext cx="1418169" cy="307777"/>
          </a:xfrm>
          <a:prstGeom prst="rect">
            <a:avLst/>
          </a:prstGeom>
          <a:noFill/>
        </p:spPr>
        <p:txBody>
          <a:bodyPr wrap="square" lIns="91440" tIns="45720" rIns="91440" bIns="45720" rtlCol="0" anchor="t">
            <a:spAutoFit/>
          </a:bodyPr>
          <a:lstStyle/>
          <a:p>
            <a:pPr algn="ctr" defTabSz="914367" fontAlgn="auto">
              <a:spcBef>
                <a:spcPts val="0"/>
              </a:spcBef>
              <a:spcAft>
                <a:spcPts val="0"/>
              </a:spcAft>
            </a:pPr>
            <a:r>
              <a:rPr lang="en-US" sz="1400" b="0" err="1">
                <a:solidFill>
                  <a:srgbClr val="49C5B1">
                    <a:lumMod val="50000"/>
                  </a:srgbClr>
                </a:solidFill>
                <a:latin typeface="Segoe UI"/>
                <a:ea typeface="+mn-lt"/>
                <a:cs typeface="Segoe UI"/>
              </a:rPr>
              <a:t>PowerBI</a:t>
            </a:r>
            <a:endParaRPr lang="en-US" sz="1765" b="0" err="1">
              <a:solidFill>
                <a:srgbClr val="FFFFFF"/>
              </a:solidFill>
              <a:latin typeface="Segoe UI"/>
              <a:cs typeface="+mn-cs"/>
            </a:endParaRPr>
          </a:p>
        </p:txBody>
      </p:sp>
      <p:sp>
        <p:nvSpPr>
          <p:cNvPr id="34" name="TextBox 33">
            <a:extLst>
              <a:ext uri="{FF2B5EF4-FFF2-40B4-BE49-F238E27FC236}">
                <a16:creationId xmlns:a16="http://schemas.microsoft.com/office/drawing/2014/main" id="{88D9E3D5-29A8-8F3C-6F9D-8812E21B2A5D}"/>
              </a:ext>
            </a:extLst>
          </p:cNvPr>
          <p:cNvSpPr txBox="1"/>
          <p:nvPr/>
        </p:nvSpPr>
        <p:spPr>
          <a:xfrm>
            <a:off x="3829707" y="2768751"/>
            <a:ext cx="1803920" cy="338554"/>
          </a:xfrm>
          <a:prstGeom prst="rect">
            <a:avLst/>
          </a:prstGeom>
          <a:noFill/>
        </p:spPr>
        <p:txBody>
          <a:bodyPr wrap="square" rtlCol="0">
            <a:spAutoFit/>
          </a:bodyPr>
          <a:lstStyle/>
          <a:p>
            <a:pPr algn="ctr" defTabSz="914367" fontAlgn="auto">
              <a:spcBef>
                <a:spcPts val="0"/>
              </a:spcBef>
              <a:spcAft>
                <a:spcPts val="0"/>
              </a:spcAft>
            </a:pPr>
            <a:r>
              <a:rPr lang="en-US" sz="1600" b="0">
                <a:solidFill>
                  <a:srgbClr val="FFFFFF"/>
                </a:solidFill>
                <a:latin typeface="Segoe UI"/>
                <a:cs typeface="+mn-cs"/>
              </a:rPr>
              <a:t>Notebook</a:t>
            </a:r>
            <a:endParaRPr lang="en-AT" sz="1600" b="0">
              <a:solidFill>
                <a:srgbClr val="FFFFFF"/>
              </a:solidFill>
              <a:latin typeface="Segoe UI"/>
              <a:cs typeface="+mn-cs"/>
            </a:endParaRPr>
          </a:p>
        </p:txBody>
      </p:sp>
      <p:sp>
        <p:nvSpPr>
          <p:cNvPr id="35" name="TextBox 34">
            <a:extLst>
              <a:ext uri="{FF2B5EF4-FFF2-40B4-BE49-F238E27FC236}">
                <a16:creationId xmlns:a16="http://schemas.microsoft.com/office/drawing/2014/main" id="{CB389A40-9075-1A63-86E5-657C2FF09199}"/>
              </a:ext>
            </a:extLst>
          </p:cNvPr>
          <p:cNvSpPr txBox="1"/>
          <p:nvPr/>
        </p:nvSpPr>
        <p:spPr>
          <a:xfrm>
            <a:off x="5237572" y="5066240"/>
            <a:ext cx="1803920" cy="307777"/>
          </a:xfrm>
          <a:prstGeom prst="rect">
            <a:avLst/>
          </a:prstGeom>
          <a:noFill/>
          <a:ln>
            <a:noFill/>
          </a:ln>
        </p:spPr>
        <p:txBody>
          <a:bodyPr wrap="square" rtlCol="0">
            <a:spAutoFit/>
          </a:bodyPr>
          <a:lstStyle/>
          <a:p>
            <a:pPr algn="ctr" defTabSz="914367" fontAlgn="auto">
              <a:spcBef>
                <a:spcPts val="0"/>
              </a:spcBef>
              <a:spcAft>
                <a:spcPts val="0"/>
              </a:spcAft>
            </a:pPr>
            <a:r>
              <a:rPr lang="en-US" sz="1400" b="0">
                <a:solidFill>
                  <a:srgbClr val="49C5B1">
                    <a:lumMod val="50000"/>
                  </a:srgbClr>
                </a:solidFill>
                <a:latin typeface="Segoe UI"/>
                <a:cs typeface="+mn-cs"/>
              </a:rPr>
              <a:t>Lakehouse</a:t>
            </a:r>
            <a:endParaRPr lang="en-AT" sz="1400" b="0">
              <a:solidFill>
                <a:srgbClr val="49C5B1">
                  <a:lumMod val="50000"/>
                </a:srgbClr>
              </a:solidFill>
              <a:latin typeface="Segoe UI"/>
              <a:cs typeface="+mn-cs"/>
            </a:endParaRPr>
          </a:p>
        </p:txBody>
      </p:sp>
      <p:pic>
        <p:nvPicPr>
          <p:cNvPr id="36" name="Picture 35">
            <a:extLst>
              <a:ext uri="{FF2B5EF4-FFF2-40B4-BE49-F238E27FC236}">
                <a16:creationId xmlns:a16="http://schemas.microsoft.com/office/drawing/2014/main" id="{7E4BC76A-B83A-B809-5B73-45611656F8FA}"/>
              </a:ext>
            </a:extLst>
          </p:cNvPr>
          <p:cNvPicPr>
            <a:picLocks noChangeAspect="1"/>
          </p:cNvPicPr>
          <p:nvPr/>
        </p:nvPicPr>
        <p:blipFill>
          <a:blip r:embed="rId6"/>
          <a:stretch>
            <a:fillRect/>
          </a:stretch>
        </p:blipFill>
        <p:spPr>
          <a:xfrm>
            <a:off x="4393697" y="2120503"/>
            <a:ext cx="699809" cy="686353"/>
          </a:xfrm>
          <a:prstGeom prst="rect">
            <a:avLst/>
          </a:prstGeom>
        </p:spPr>
      </p:pic>
      <p:pic>
        <p:nvPicPr>
          <p:cNvPr id="37" name="Graphic 36" descr="User with solid fill">
            <a:extLst>
              <a:ext uri="{FF2B5EF4-FFF2-40B4-BE49-F238E27FC236}">
                <a16:creationId xmlns:a16="http://schemas.microsoft.com/office/drawing/2014/main" id="{6E41CA13-ED39-A1D0-479A-0DD6FA0EF7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91255" y="1968401"/>
            <a:ext cx="914400" cy="914400"/>
          </a:xfrm>
          <a:prstGeom prst="rect">
            <a:avLst/>
          </a:prstGeom>
        </p:spPr>
      </p:pic>
      <p:pic>
        <p:nvPicPr>
          <p:cNvPr id="38" name="Graphic 37">
            <a:extLst>
              <a:ext uri="{FF2B5EF4-FFF2-40B4-BE49-F238E27FC236}">
                <a16:creationId xmlns:a16="http://schemas.microsoft.com/office/drawing/2014/main" id="{0E3DDE9C-E3FC-53D9-3CFC-454F116C86E6}"/>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7916" r="-7916"/>
          <a:stretch/>
        </p:blipFill>
        <p:spPr>
          <a:xfrm>
            <a:off x="9560229" y="2532655"/>
            <a:ext cx="490852" cy="423763"/>
          </a:xfrm>
          <a:prstGeom prst="rect">
            <a:avLst/>
          </a:prstGeom>
        </p:spPr>
      </p:pic>
      <p:sp>
        <p:nvSpPr>
          <p:cNvPr id="39" name="TextBox 38">
            <a:extLst>
              <a:ext uri="{FF2B5EF4-FFF2-40B4-BE49-F238E27FC236}">
                <a16:creationId xmlns:a16="http://schemas.microsoft.com/office/drawing/2014/main" id="{A964C765-EFDE-AB56-902C-6A5E96DFA735}"/>
              </a:ext>
            </a:extLst>
          </p:cNvPr>
          <p:cNvSpPr txBox="1"/>
          <p:nvPr/>
        </p:nvSpPr>
        <p:spPr>
          <a:xfrm>
            <a:off x="8681428" y="3017290"/>
            <a:ext cx="1703693" cy="338554"/>
          </a:xfrm>
          <a:prstGeom prst="rect">
            <a:avLst/>
          </a:prstGeom>
          <a:noFill/>
        </p:spPr>
        <p:txBody>
          <a:bodyPr wrap="square" rtlCol="0">
            <a:spAutoFit/>
          </a:bodyPr>
          <a:lstStyle/>
          <a:p>
            <a:pPr defTabSz="914367" fontAlgn="auto">
              <a:spcBef>
                <a:spcPts val="0"/>
              </a:spcBef>
              <a:spcAft>
                <a:spcPts val="0"/>
              </a:spcAft>
            </a:pPr>
            <a:r>
              <a:rPr lang="en-US" sz="1600" b="0">
                <a:solidFill>
                  <a:srgbClr val="B9DCD2">
                    <a:lumMod val="50000"/>
                  </a:srgbClr>
                </a:solidFill>
                <a:latin typeface="Segoe UI"/>
                <a:cs typeface="+mn-cs"/>
              </a:rPr>
              <a:t>Data Analyst</a:t>
            </a:r>
          </a:p>
        </p:txBody>
      </p:sp>
      <p:pic>
        <p:nvPicPr>
          <p:cNvPr id="40" name="Picture 39">
            <a:extLst>
              <a:ext uri="{FF2B5EF4-FFF2-40B4-BE49-F238E27FC236}">
                <a16:creationId xmlns:a16="http://schemas.microsoft.com/office/drawing/2014/main" id="{07C23B07-2F3B-EAF6-B689-7E52BA9D74D7}"/>
              </a:ext>
            </a:extLst>
          </p:cNvPr>
          <p:cNvPicPr>
            <a:picLocks noChangeAspect="1"/>
          </p:cNvPicPr>
          <p:nvPr/>
        </p:nvPicPr>
        <p:blipFill>
          <a:blip r:embed="rId11"/>
          <a:stretch>
            <a:fillRect/>
          </a:stretch>
        </p:blipFill>
        <p:spPr>
          <a:xfrm>
            <a:off x="8583784" y="3523224"/>
            <a:ext cx="1467297" cy="802339"/>
          </a:xfrm>
          <a:prstGeom prst="rect">
            <a:avLst/>
          </a:prstGeom>
          <a:ln>
            <a:solidFill>
              <a:srgbClr val="0078D3">
                <a:lumMod val="25000"/>
              </a:srgbClr>
            </a:solidFill>
          </a:ln>
        </p:spPr>
      </p:pic>
      <p:pic>
        <p:nvPicPr>
          <p:cNvPr id="41" name="Picture 40">
            <a:extLst>
              <a:ext uri="{FF2B5EF4-FFF2-40B4-BE49-F238E27FC236}">
                <a16:creationId xmlns:a16="http://schemas.microsoft.com/office/drawing/2014/main" id="{52ADAB45-979F-1E5B-16C9-14FD80028159}"/>
              </a:ext>
            </a:extLst>
          </p:cNvPr>
          <p:cNvPicPr>
            <a:picLocks noChangeAspect="1"/>
          </p:cNvPicPr>
          <p:nvPr/>
        </p:nvPicPr>
        <p:blipFill>
          <a:blip r:embed="rId12"/>
          <a:stretch>
            <a:fillRect/>
          </a:stretch>
        </p:blipFill>
        <p:spPr>
          <a:xfrm>
            <a:off x="8596593" y="4634394"/>
            <a:ext cx="1454487" cy="865613"/>
          </a:xfrm>
          <a:prstGeom prst="rect">
            <a:avLst/>
          </a:prstGeom>
          <a:ln>
            <a:solidFill>
              <a:srgbClr val="0078D3">
                <a:lumMod val="25000"/>
              </a:srgbClr>
            </a:solidFill>
          </a:ln>
        </p:spPr>
      </p:pic>
      <p:pic>
        <p:nvPicPr>
          <p:cNvPr id="42" name="Graphic 41" descr="User with solid fill">
            <a:extLst>
              <a:ext uri="{FF2B5EF4-FFF2-40B4-BE49-F238E27FC236}">
                <a16:creationId xmlns:a16="http://schemas.microsoft.com/office/drawing/2014/main" id="{ED752402-C742-F288-799C-3569CDC095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55916" y="1956783"/>
            <a:ext cx="914400" cy="914400"/>
          </a:xfrm>
          <a:prstGeom prst="rect">
            <a:avLst/>
          </a:prstGeom>
        </p:spPr>
      </p:pic>
      <p:pic>
        <p:nvPicPr>
          <p:cNvPr id="43" name="Picture 42" descr="See the source image">
            <a:extLst>
              <a:ext uri="{FF2B5EF4-FFF2-40B4-BE49-F238E27FC236}">
                <a16:creationId xmlns:a16="http://schemas.microsoft.com/office/drawing/2014/main" id="{92C25BA5-1A82-F801-5FDE-9230B584E7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43308" y="2596880"/>
            <a:ext cx="376483" cy="375094"/>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EF3A57CB-EE74-40F1-8853-821CE370528B}"/>
              </a:ext>
            </a:extLst>
          </p:cNvPr>
          <p:cNvSpPr txBox="1"/>
          <p:nvPr/>
        </p:nvSpPr>
        <p:spPr>
          <a:xfrm>
            <a:off x="2104437" y="3003555"/>
            <a:ext cx="1703693" cy="338554"/>
          </a:xfrm>
          <a:prstGeom prst="rect">
            <a:avLst/>
          </a:prstGeom>
          <a:noFill/>
        </p:spPr>
        <p:txBody>
          <a:bodyPr wrap="square" rtlCol="0">
            <a:spAutoFit/>
          </a:bodyPr>
          <a:lstStyle/>
          <a:p>
            <a:pPr defTabSz="914367" fontAlgn="auto">
              <a:spcBef>
                <a:spcPts val="0"/>
              </a:spcBef>
              <a:spcAft>
                <a:spcPts val="0"/>
              </a:spcAft>
            </a:pPr>
            <a:r>
              <a:rPr lang="en-US" sz="1600" b="0">
                <a:solidFill>
                  <a:srgbClr val="49C5B1">
                    <a:lumMod val="50000"/>
                  </a:srgbClr>
                </a:solidFill>
                <a:latin typeface="Segoe UI"/>
                <a:cs typeface="+mn-cs"/>
              </a:rPr>
              <a:t>Data Scientist</a:t>
            </a:r>
          </a:p>
        </p:txBody>
      </p:sp>
      <p:pic>
        <p:nvPicPr>
          <p:cNvPr id="45" name="Picture 44">
            <a:extLst>
              <a:ext uri="{FF2B5EF4-FFF2-40B4-BE49-F238E27FC236}">
                <a16:creationId xmlns:a16="http://schemas.microsoft.com/office/drawing/2014/main" id="{36219C0A-8659-5A69-08B3-34E2985DE75E}"/>
              </a:ext>
            </a:extLst>
          </p:cNvPr>
          <p:cNvPicPr>
            <a:picLocks noChangeAspect="1"/>
          </p:cNvPicPr>
          <p:nvPr/>
        </p:nvPicPr>
        <p:blipFill>
          <a:blip r:embed="rId14"/>
          <a:stretch>
            <a:fillRect/>
          </a:stretch>
        </p:blipFill>
        <p:spPr>
          <a:xfrm>
            <a:off x="2116505" y="3533121"/>
            <a:ext cx="1579688" cy="753234"/>
          </a:xfrm>
          <a:prstGeom prst="rect">
            <a:avLst/>
          </a:prstGeom>
          <a:ln>
            <a:solidFill>
              <a:srgbClr val="0078D3">
                <a:lumMod val="25000"/>
              </a:srgbClr>
            </a:solidFill>
          </a:ln>
        </p:spPr>
      </p:pic>
      <p:pic>
        <p:nvPicPr>
          <p:cNvPr id="46" name="Picture 2" descr="Data Model Icon #45490 - Free Icons Library">
            <a:extLst>
              <a:ext uri="{FF2B5EF4-FFF2-40B4-BE49-F238E27FC236}">
                <a16:creationId xmlns:a16="http://schemas.microsoft.com/office/drawing/2014/main" id="{EF3993E6-CE4B-5714-2A19-F43AB66DEE0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6548" y="2911854"/>
            <a:ext cx="933294" cy="914401"/>
          </a:xfrm>
          <a:prstGeom prst="rect">
            <a:avLst/>
          </a:prstGeom>
          <a:noFill/>
          <a:extLst>
            <a:ext uri="{909E8E84-426E-40DD-AFC4-6F175D3DCCD1}">
              <a14:hiddenFill xmlns:a14="http://schemas.microsoft.com/office/drawing/2010/main">
                <a:solidFill>
                  <a:srgbClr val="FFFFFF"/>
                </a:solidFill>
              </a14:hiddenFill>
            </a:ext>
          </a:extLst>
        </p:spPr>
      </p:pic>
      <p:sp>
        <p:nvSpPr>
          <p:cNvPr id="47" name="Oval 46">
            <a:extLst>
              <a:ext uri="{FF2B5EF4-FFF2-40B4-BE49-F238E27FC236}">
                <a16:creationId xmlns:a16="http://schemas.microsoft.com/office/drawing/2014/main" id="{A01F2477-C856-0C3F-F64D-74ADC0D52FA3}"/>
              </a:ext>
            </a:extLst>
          </p:cNvPr>
          <p:cNvSpPr/>
          <p:nvPr/>
        </p:nvSpPr>
        <p:spPr bwMode="auto">
          <a:xfrm>
            <a:off x="5187314" y="2454654"/>
            <a:ext cx="1854178" cy="1870909"/>
          </a:xfrm>
          <a:prstGeom prst="ellipse">
            <a:avLst/>
          </a:prstGeom>
          <a:noFill/>
          <a:ln w="9525" cap="flat" cmpd="sng" algn="ctr">
            <a:solidFill>
              <a:srgbClr val="B9DCD2">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Arrow: Left-Right 43">
            <a:extLst>
              <a:ext uri="{FF2B5EF4-FFF2-40B4-BE49-F238E27FC236}">
                <a16:creationId xmlns:a16="http://schemas.microsoft.com/office/drawing/2014/main" id="{13B0B907-2577-5A59-2390-D17D744880A2}"/>
              </a:ext>
            </a:extLst>
          </p:cNvPr>
          <p:cNvSpPr/>
          <p:nvPr/>
        </p:nvSpPr>
        <p:spPr>
          <a:xfrm>
            <a:off x="3225465" y="2434471"/>
            <a:ext cx="914400" cy="205183"/>
          </a:xfrm>
          <a:prstGeom prst="leftRightArrow">
            <a:avLst/>
          </a:prstGeom>
          <a:solidFill>
            <a:srgbClr val="49C5B1">
              <a:lumMod val="75000"/>
            </a:srgbClr>
          </a:solidFill>
          <a:ln w="9525" cap="flat" cmpd="sng" algn="ctr">
            <a:solidFill>
              <a:srgbClr val="B9DCD2"/>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aphicFrame>
        <p:nvGraphicFramePr>
          <p:cNvPr id="49" name="Diagram 48">
            <a:extLst>
              <a:ext uri="{FF2B5EF4-FFF2-40B4-BE49-F238E27FC236}">
                <a16:creationId xmlns:a16="http://schemas.microsoft.com/office/drawing/2014/main" id="{01B75413-67B1-D72E-6598-D1530E242E17}"/>
              </a:ext>
            </a:extLst>
          </p:cNvPr>
          <p:cNvGraphicFramePr/>
          <p:nvPr>
            <p:extLst>
              <p:ext uri="{D42A27DB-BD31-4B8C-83A1-F6EECF244321}">
                <p14:modId xmlns:p14="http://schemas.microsoft.com/office/powerpoint/2010/main" val="923986116"/>
              </p:ext>
            </p:extLst>
          </p:nvPr>
        </p:nvGraphicFramePr>
        <p:xfrm>
          <a:off x="3989314" y="2243337"/>
          <a:ext cx="4273532" cy="2563050"/>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50" name="Arrow: Left-Right 44">
            <a:extLst>
              <a:ext uri="{FF2B5EF4-FFF2-40B4-BE49-F238E27FC236}">
                <a16:creationId xmlns:a16="http://schemas.microsoft.com/office/drawing/2014/main" id="{CCC4B416-E658-57D3-A54D-596A5A577D52}"/>
              </a:ext>
            </a:extLst>
          </p:cNvPr>
          <p:cNvSpPr/>
          <p:nvPr/>
        </p:nvSpPr>
        <p:spPr>
          <a:xfrm>
            <a:off x="7880612" y="2474683"/>
            <a:ext cx="914400" cy="205183"/>
          </a:xfrm>
          <a:prstGeom prst="leftRightArrow">
            <a:avLst/>
          </a:prstGeom>
          <a:solidFill>
            <a:srgbClr val="49C5B1">
              <a:lumMod val="75000"/>
            </a:srgbClr>
          </a:solidFill>
          <a:ln w="9525" cap="flat" cmpd="sng" algn="ctr">
            <a:solidFill>
              <a:srgbClr val="B9DCD2"/>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E18F818B-7D30-B74D-26C7-942C3DC13A57}"/>
              </a:ext>
            </a:extLst>
          </p:cNvPr>
          <p:cNvSpPr txBox="1"/>
          <p:nvPr/>
        </p:nvSpPr>
        <p:spPr>
          <a:xfrm>
            <a:off x="3797383" y="2828225"/>
            <a:ext cx="1803920" cy="307777"/>
          </a:xfrm>
          <a:prstGeom prst="rect">
            <a:avLst/>
          </a:prstGeom>
          <a:noFill/>
        </p:spPr>
        <p:txBody>
          <a:bodyPr wrap="square" rtlCol="0">
            <a:spAutoFit/>
          </a:bodyPr>
          <a:lstStyle/>
          <a:p>
            <a:pPr algn="ctr" defTabSz="914367" fontAlgn="auto">
              <a:spcBef>
                <a:spcPts val="0"/>
              </a:spcBef>
              <a:spcAft>
                <a:spcPts val="0"/>
              </a:spcAft>
            </a:pPr>
            <a:r>
              <a:rPr lang="en-US" sz="1400" b="0">
                <a:solidFill>
                  <a:srgbClr val="49C5B1">
                    <a:lumMod val="50000"/>
                  </a:srgbClr>
                </a:solidFill>
                <a:latin typeface="Segoe UI"/>
                <a:cs typeface="+mn-cs"/>
              </a:rPr>
              <a:t>Notebook</a:t>
            </a:r>
            <a:endParaRPr lang="en-AT" sz="1400" b="0">
              <a:solidFill>
                <a:srgbClr val="49C5B1">
                  <a:lumMod val="50000"/>
                </a:srgbClr>
              </a:solidFill>
              <a:latin typeface="Segoe UI"/>
              <a:cs typeface="+mn-cs"/>
            </a:endParaRPr>
          </a:p>
        </p:txBody>
      </p:sp>
    </p:spTree>
    <p:extLst>
      <p:ext uri="{BB962C8B-B14F-4D97-AF65-F5344CB8AC3E}">
        <p14:creationId xmlns:p14="http://schemas.microsoft.com/office/powerpoint/2010/main" val="20657582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6" name="Rounded Rectangle 38">
            <a:extLst>
              <a:ext uri="{FF2B5EF4-FFF2-40B4-BE49-F238E27FC236}">
                <a16:creationId xmlns:a16="http://schemas.microsoft.com/office/drawing/2014/main" id="{7A175F84-1287-688A-06FE-AE7B27FABA8D}"/>
              </a:ext>
            </a:extLst>
          </p:cNvPr>
          <p:cNvSpPr/>
          <p:nvPr/>
        </p:nvSpPr>
        <p:spPr bwMode="auto">
          <a:xfrm>
            <a:off x="1234955" y="2747948"/>
            <a:ext cx="9753600" cy="2019995"/>
          </a:xfrm>
          <a:prstGeom prst="roundRect">
            <a:avLst>
              <a:gd name="adj" fmla="val 3641"/>
            </a:avLst>
          </a:prstGeom>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a:lnSpc>
                <a:spcPct val="90000"/>
              </a:lnSpc>
              <a:tabLst>
                <a:tab pos="5195888" algn="l"/>
              </a:tabLst>
              <a:defRPr/>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7" name="Title 2">
            <a:extLst>
              <a:ext uri="{FF2B5EF4-FFF2-40B4-BE49-F238E27FC236}">
                <a16:creationId xmlns:a16="http://schemas.microsoft.com/office/drawing/2014/main" id="{165410EC-3FB3-6B97-566B-88F14418B769}"/>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FR"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SynapseML and Microsoft AI services</a:t>
            </a:r>
          </a:p>
        </p:txBody>
      </p:sp>
      <p:sp>
        <p:nvSpPr>
          <p:cNvPr id="18" name="Rectangle: Rounded Corners 11">
            <a:extLst>
              <a:ext uri="{FF2B5EF4-FFF2-40B4-BE49-F238E27FC236}">
                <a16:creationId xmlns:a16="http://schemas.microsoft.com/office/drawing/2014/main" id="{8AD88760-12E0-0EF6-2766-5CD397030B23}"/>
              </a:ext>
            </a:extLst>
          </p:cNvPr>
          <p:cNvSpPr/>
          <p:nvPr/>
        </p:nvSpPr>
        <p:spPr bwMode="auto">
          <a:xfrm>
            <a:off x="1817418" y="2747948"/>
            <a:ext cx="1371599" cy="1362104"/>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 name="Graphic 18">
            <a:extLst>
              <a:ext uri="{FF2B5EF4-FFF2-40B4-BE49-F238E27FC236}">
                <a16:creationId xmlns:a16="http://schemas.microsoft.com/office/drawing/2014/main" id="{8669F812-629F-17BA-9EE0-467F7FDEE6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1587" y="3026460"/>
            <a:ext cx="704004" cy="754465"/>
          </a:xfrm>
          <a:prstGeom prst="rect">
            <a:avLst/>
          </a:prstGeom>
        </p:spPr>
      </p:pic>
      <p:sp>
        <p:nvSpPr>
          <p:cNvPr id="20" name="Rectangle: Rounded Corners 11">
            <a:extLst>
              <a:ext uri="{FF2B5EF4-FFF2-40B4-BE49-F238E27FC236}">
                <a16:creationId xmlns:a16="http://schemas.microsoft.com/office/drawing/2014/main" id="{B08A15EE-3BBD-F33C-96FE-12F323E46507}"/>
              </a:ext>
            </a:extLst>
          </p:cNvPr>
          <p:cNvSpPr/>
          <p:nvPr/>
        </p:nvSpPr>
        <p:spPr bwMode="auto">
          <a:xfrm>
            <a:off x="4199539" y="2737317"/>
            <a:ext cx="1422772" cy="1367985"/>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1" name="Picture 20" descr="A picture containing font, graphics, graphic design, logo&#10;&#10;Description automatically generated">
            <a:extLst>
              <a:ext uri="{FF2B5EF4-FFF2-40B4-BE49-F238E27FC236}">
                <a16:creationId xmlns:a16="http://schemas.microsoft.com/office/drawing/2014/main" id="{3C863841-031C-7F3A-14B5-E042328CBCFB}"/>
              </a:ext>
            </a:extLst>
          </p:cNvPr>
          <p:cNvPicPr>
            <a:picLocks noChangeAspect="1"/>
          </p:cNvPicPr>
          <p:nvPr/>
        </p:nvPicPr>
        <p:blipFill>
          <a:blip r:embed="rId5"/>
          <a:stretch>
            <a:fillRect/>
          </a:stretch>
        </p:blipFill>
        <p:spPr>
          <a:xfrm>
            <a:off x="4310607" y="3135085"/>
            <a:ext cx="1311704" cy="508418"/>
          </a:xfrm>
          <a:prstGeom prst="rect">
            <a:avLst/>
          </a:prstGeom>
        </p:spPr>
      </p:pic>
      <p:sp>
        <p:nvSpPr>
          <p:cNvPr id="22" name="Rectangle: Rounded Corners 11">
            <a:extLst>
              <a:ext uri="{FF2B5EF4-FFF2-40B4-BE49-F238E27FC236}">
                <a16:creationId xmlns:a16="http://schemas.microsoft.com/office/drawing/2014/main" id="{0C83D84A-DA69-1F01-1793-C59CC3671175}"/>
              </a:ext>
            </a:extLst>
          </p:cNvPr>
          <p:cNvSpPr/>
          <p:nvPr/>
        </p:nvSpPr>
        <p:spPr bwMode="auto">
          <a:xfrm>
            <a:off x="6632834" y="2747949"/>
            <a:ext cx="1411717" cy="1357356"/>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3" name="Graphic 22">
            <a:extLst>
              <a:ext uri="{FF2B5EF4-FFF2-40B4-BE49-F238E27FC236}">
                <a16:creationId xmlns:a16="http://schemas.microsoft.com/office/drawing/2014/main" id="{B8BBD2FE-290C-7204-A04D-179F528BE9B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15185" y="3154299"/>
            <a:ext cx="847014" cy="549401"/>
          </a:xfrm>
          <a:prstGeom prst="rect">
            <a:avLst/>
          </a:prstGeom>
        </p:spPr>
      </p:pic>
      <p:sp>
        <p:nvSpPr>
          <p:cNvPr id="24" name="Rectangle: Rounded Corners 11">
            <a:extLst>
              <a:ext uri="{FF2B5EF4-FFF2-40B4-BE49-F238E27FC236}">
                <a16:creationId xmlns:a16="http://schemas.microsoft.com/office/drawing/2014/main" id="{32E8438E-705D-5E46-DD56-4AC56ACF7AF9}"/>
              </a:ext>
            </a:extLst>
          </p:cNvPr>
          <p:cNvSpPr/>
          <p:nvPr/>
        </p:nvSpPr>
        <p:spPr bwMode="auto">
          <a:xfrm>
            <a:off x="9055074" y="2750322"/>
            <a:ext cx="1411717" cy="1357356"/>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Freeform: Shape 16">
            <a:extLst>
              <a:ext uri="{FF2B5EF4-FFF2-40B4-BE49-F238E27FC236}">
                <a16:creationId xmlns:a16="http://schemas.microsoft.com/office/drawing/2014/main" id="{B050C3A1-63E1-97A1-7561-9459414AD616}"/>
              </a:ext>
            </a:extLst>
          </p:cNvPr>
          <p:cNvSpPr/>
          <p:nvPr/>
        </p:nvSpPr>
        <p:spPr>
          <a:xfrm>
            <a:off x="9457014" y="3108457"/>
            <a:ext cx="607835" cy="645838"/>
          </a:xfrm>
          <a:custGeom>
            <a:avLst/>
            <a:gdLst>
              <a:gd name="connsiteX0" fmla="*/ 413698 w 417127"/>
              <a:gd name="connsiteY0" fmla="*/ 215971 h 418146"/>
              <a:gd name="connsiteX1" fmla="*/ 388361 w 417127"/>
              <a:gd name="connsiteY1" fmla="*/ 170918 h 418146"/>
              <a:gd name="connsiteX2" fmla="*/ 380360 w 417127"/>
              <a:gd name="connsiteY2" fmla="*/ 85193 h 418146"/>
              <a:gd name="connsiteX3" fmla="*/ 265584 w 417127"/>
              <a:gd name="connsiteY3" fmla="*/ 36520 h 418146"/>
              <a:gd name="connsiteX4" fmla="*/ 117836 w 417127"/>
              <a:gd name="connsiteY4" fmla="*/ 25286 h 418146"/>
              <a:gd name="connsiteX5" fmla="*/ 85752 w 417127"/>
              <a:gd name="connsiteY5" fmla="*/ 74620 h 418146"/>
              <a:gd name="connsiteX6" fmla="*/ 14124 w 417127"/>
              <a:gd name="connsiteY6" fmla="*/ 124340 h 418146"/>
              <a:gd name="connsiteX7" fmla="*/ 28507 w 417127"/>
              <a:gd name="connsiteY7" fmla="*/ 247118 h 418146"/>
              <a:gd name="connsiteX8" fmla="*/ 36508 w 417127"/>
              <a:gd name="connsiteY8" fmla="*/ 332843 h 418146"/>
              <a:gd name="connsiteX9" fmla="*/ 151284 w 417127"/>
              <a:gd name="connsiteY9" fmla="*/ 381420 h 418146"/>
              <a:gd name="connsiteX10" fmla="*/ 299002 w 417127"/>
              <a:gd name="connsiteY10" fmla="*/ 393037 h 418146"/>
              <a:gd name="connsiteX11" fmla="*/ 331211 w 417127"/>
              <a:gd name="connsiteY11" fmla="*/ 343796 h 418146"/>
              <a:gd name="connsiteX12" fmla="*/ 402839 w 417127"/>
              <a:gd name="connsiteY12" fmla="*/ 294076 h 418146"/>
              <a:gd name="connsiteX13" fmla="*/ 413698 w 417127"/>
              <a:gd name="connsiteY13" fmla="*/ 215971 h 418146"/>
              <a:gd name="connsiteX14" fmla="*/ 335688 w 417127"/>
              <a:gd name="connsiteY14" fmla="*/ 313793 h 418146"/>
              <a:gd name="connsiteX15" fmla="*/ 332164 w 417127"/>
              <a:gd name="connsiteY15" fmla="*/ 308459 h 418146"/>
              <a:gd name="connsiteX16" fmla="*/ 332164 w 417127"/>
              <a:gd name="connsiteY16" fmla="*/ 211399 h 418146"/>
              <a:gd name="connsiteX17" fmla="*/ 327401 w 417127"/>
              <a:gd name="connsiteY17" fmla="*/ 201017 h 418146"/>
              <a:gd name="connsiteX18" fmla="*/ 232151 w 417127"/>
              <a:gd name="connsiteY18" fmla="*/ 147200 h 418146"/>
              <a:gd name="connsiteX19" fmla="*/ 266536 w 417127"/>
              <a:gd name="connsiteY19" fmla="*/ 127674 h 418146"/>
              <a:gd name="connsiteX20" fmla="*/ 347118 w 417127"/>
              <a:gd name="connsiteY20" fmla="*/ 173489 h 418146"/>
              <a:gd name="connsiteX21" fmla="*/ 383980 w 417127"/>
              <a:gd name="connsiteY21" fmla="*/ 221114 h 418146"/>
              <a:gd name="connsiteX22" fmla="*/ 376074 w 417127"/>
              <a:gd name="connsiteY22" fmla="*/ 279788 h 418146"/>
              <a:gd name="connsiteX23" fmla="*/ 335688 w 417127"/>
              <a:gd name="connsiteY23" fmla="*/ 313793 h 418146"/>
              <a:gd name="connsiteX24" fmla="*/ 81180 w 417127"/>
              <a:gd name="connsiteY24" fmla="*/ 104243 h 418146"/>
              <a:gd name="connsiteX25" fmla="*/ 84799 w 417127"/>
              <a:gd name="connsiteY25" fmla="*/ 109577 h 418146"/>
              <a:gd name="connsiteX26" fmla="*/ 84799 w 417127"/>
              <a:gd name="connsiteY26" fmla="*/ 206636 h 418146"/>
              <a:gd name="connsiteX27" fmla="*/ 89467 w 417127"/>
              <a:gd name="connsiteY27" fmla="*/ 217019 h 418146"/>
              <a:gd name="connsiteX28" fmla="*/ 184717 w 417127"/>
              <a:gd name="connsiteY28" fmla="*/ 270835 h 418146"/>
              <a:gd name="connsiteX29" fmla="*/ 150331 w 417127"/>
              <a:gd name="connsiteY29" fmla="*/ 290361 h 418146"/>
              <a:gd name="connsiteX30" fmla="*/ 69369 w 417127"/>
              <a:gd name="connsiteY30" fmla="*/ 244451 h 418146"/>
              <a:gd name="connsiteX31" fmla="*/ 32507 w 417127"/>
              <a:gd name="connsiteY31" fmla="*/ 196826 h 418146"/>
              <a:gd name="connsiteX32" fmla="*/ 40413 w 417127"/>
              <a:gd name="connsiteY32" fmla="*/ 138152 h 418146"/>
              <a:gd name="connsiteX33" fmla="*/ 81180 w 417127"/>
              <a:gd name="connsiteY33" fmla="*/ 104243 h 418146"/>
              <a:gd name="connsiteX34" fmla="*/ 364168 w 417127"/>
              <a:gd name="connsiteY34" fmla="*/ 152439 h 418146"/>
              <a:gd name="connsiteX35" fmla="*/ 357595 w 417127"/>
              <a:gd name="connsiteY35" fmla="*/ 151677 h 418146"/>
              <a:gd name="connsiteX36" fmla="*/ 272823 w 417127"/>
              <a:gd name="connsiteY36" fmla="*/ 103481 h 418146"/>
              <a:gd name="connsiteX37" fmla="*/ 261012 w 417127"/>
              <a:gd name="connsiteY37" fmla="*/ 103481 h 418146"/>
              <a:gd name="connsiteX38" fmla="*/ 164428 w 417127"/>
              <a:gd name="connsiteY38" fmla="*/ 158630 h 418146"/>
              <a:gd name="connsiteX39" fmla="*/ 164428 w 417127"/>
              <a:gd name="connsiteY39" fmla="*/ 118625 h 418146"/>
              <a:gd name="connsiteX40" fmla="*/ 246534 w 417127"/>
              <a:gd name="connsiteY40" fmla="*/ 72810 h 418146"/>
              <a:gd name="connsiteX41" fmla="*/ 246534 w 417127"/>
              <a:gd name="connsiteY41" fmla="*/ 72810 h 418146"/>
              <a:gd name="connsiteX42" fmla="*/ 354738 w 417127"/>
              <a:gd name="connsiteY42" fmla="*/ 101385 h 418146"/>
              <a:gd name="connsiteX43" fmla="*/ 364168 w 417127"/>
              <a:gd name="connsiteY43" fmla="*/ 152630 h 418146"/>
              <a:gd name="connsiteX44" fmla="*/ 208434 w 417127"/>
              <a:gd name="connsiteY44" fmla="*/ 161393 h 418146"/>
              <a:gd name="connsiteX45" fmla="*/ 252439 w 417127"/>
              <a:gd name="connsiteY45" fmla="*/ 186348 h 418146"/>
              <a:gd name="connsiteX46" fmla="*/ 252439 w 417127"/>
              <a:gd name="connsiteY46" fmla="*/ 232354 h 418146"/>
              <a:gd name="connsiteX47" fmla="*/ 208434 w 417127"/>
              <a:gd name="connsiteY47" fmla="*/ 256643 h 418146"/>
              <a:gd name="connsiteX48" fmla="*/ 164524 w 417127"/>
              <a:gd name="connsiteY48" fmla="*/ 231687 h 418146"/>
              <a:gd name="connsiteX49" fmla="*/ 164524 w 417127"/>
              <a:gd name="connsiteY49" fmla="*/ 185967 h 418146"/>
              <a:gd name="connsiteX50" fmla="*/ 233008 w 417127"/>
              <a:gd name="connsiteY50" fmla="*/ 53093 h 418146"/>
              <a:gd name="connsiteX51" fmla="*/ 146807 w 417127"/>
              <a:gd name="connsiteY51" fmla="*/ 101290 h 418146"/>
              <a:gd name="connsiteX52" fmla="*/ 141759 w 417127"/>
              <a:gd name="connsiteY52" fmla="*/ 111672 h 418146"/>
              <a:gd name="connsiteX53" fmla="*/ 141759 w 417127"/>
              <a:gd name="connsiteY53" fmla="*/ 218543 h 418146"/>
              <a:gd name="connsiteX54" fmla="*/ 107088 w 417127"/>
              <a:gd name="connsiteY54" fmla="*/ 199493 h 418146"/>
              <a:gd name="connsiteX55" fmla="*/ 107088 w 417127"/>
              <a:gd name="connsiteY55" fmla="*/ 109958 h 418146"/>
              <a:gd name="connsiteX56" fmla="*/ 107088 w 417127"/>
              <a:gd name="connsiteY56" fmla="*/ 108053 h 418146"/>
              <a:gd name="connsiteX57" fmla="*/ 187249 w 417127"/>
              <a:gd name="connsiteY57" fmla="*/ 29728 h 418146"/>
              <a:gd name="connsiteX58" fmla="*/ 237009 w 417127"/>
              <a:gd name="connsiteY58" fmla="*/ 48045 h 418146"/>
              <a:gd name="connsiteX59" fmla="*/ 233008 w 417127"/>
              <a:gd name="connsiteY59" fmla="*/ 53093 h 418146"/>
              <a:gd name="connsiteX60" fmla="*/ 52700 w 417127"/>
              <a:gd name="connsiteY60" fmla="*/ 265406 h 418146"/>
              <a:gd name="connsiteX61" fmla="*/ 56796 w 417127"/>
              <a:gd name="connsiteY61" fmla="*/ 266453 h 418146"/>
              <a:gd name="connsiteX62" fmla="*/ 59272 w 417127"/>
              <a:gd name="connsiteY62" fmla="*/ 266453 h 418146"/>
              <a:gd name="connsiteX63" fmla="*/ 144045 w 417127"/>
              <a:gd name="connsiteY63" fmla="*/ 314650 h 418146"/>
              <a:gd name="connsiteX64" fmla="*/ 155856 w 417127"/>
              <a:gd name="connsiteY64" fmla="*/ 314650 h 418146"/>
              <a:gd name="connsiteX65" fmla="*/ 252535 w 417127"/>
              <a:gd name="connsiteY65" fmla="*/ 259691 h 418146"/>
              <a:gd name="connsiteX66" fmla="*/ 252535 w 417127"/>
              <a:gd name="connsiteY66" fmla="*/ 299696 h 418146"/>
              <a:gd name="connsiteX67" fmla="*/ 170334 w 417127"/>
              <a:gd name="connsiteY67" fmla="*/ 345225 h 418146"/>
              <a:gd name="connsiteX68" fmla="*/ 170334 w 417127"/>
              <a:gd name="connsiteY68" fmla="*/ 345225 h 418146"/>
              <a:gd name="connsiteX69" fmla="*/ 62130 w 417127"/>
              <a:gd name="connsiteY69" fmla="*/ 316650 h 418146"/>
              <a:gd name="connsiteX70" fmla="*/ 52700 w 417127"/>
              <a:gd name="connsiteY70" fmla="*/ 265406 h 418146"/>
              <a:gd name="connsiteX71" fmla="*/ 183859 w 417127"/>
              <a:gd name="connsiteY71" fmla="*/ 364942 h 418146"/>
              <a:gd name="connsiteX72" fmla="*/ 270156 w 417127"/>
              <a:gd name="connsiteY72" fmla="*/ 316841 h 418146"/>
              <a:gd name="connsiteX73" fmla="*/ 275109 w 417127"/>
              <a:gd name="connsiteY73" fmla="*/ 306363 h 418146"/>
              <a:gd name="connsiteX74" fmla="*/ 275109 w 417127"/>
              <a:gd name="connsiteY74" fmla="*/ 199493 h 418146"/>
              <a:gd name="connsiteX75" fmla="*/ 309685 w 417127"/>
              <a:gd name="connsiteY75" fmla="*/ 218543 h 418146"/>
              <a:gd name="connsiteX76" fmla="*/ 309685 w 417127"/>
              <a:gd name="connsiteY76" fmla="*/ 308078 h 418146"/>
              <a:gd name="connsiteX77" fmla="*/ 309685 w 417127"/>
              <a:gd name="connsiteY77" fmla="*/ 309983 h 418146"/>
              <a:gd name="connsiteX78" fmla="*/ 229446 w 417127"/>
              <a:gd name="connsiteY78" fmla="*/ 388228 h 418146"/>
              <a:gd name="connsiteX79" fmla="*/ 179859 w 417127"/>
              <a:gd name="connsiteY79" fmla="*/ 369990 h 418146"/>
              <a:gd name="connsiteX80" fmla="*/ 183859 w 417127"/>
              <a:gd name="connsiteY80" fmla="*/ 364942 h 41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17127" h="418146">
                <a:moveTo>
                  <a:pt x="413698" y="215971"/>
                </a:moveTo>
                <a:cubicBezTo>
                  <a:pt x="409244" y="199034"/>
                  <a:pt x="400521" y="183521"/>
                  <a:pt x="388361" y="170918"/>
                </a:cubicBezTo>
                <a:cubicBezTo>
                  <a:pt x="398595" y="142577"/>
                  <a:pt x="395662" y="111150"/>
                  <a:pt x="380360" y="85193"/>
                </a:cubicBezTo>
                <a:cubicBezTo>
                  <a:pt x="356796" y="45690"/>
                  <a:pt x="310362" y="25999"/>
                  <a:pt x="265584" y="36520"/>
                </a:cubicBezTo>
                <a:cubicBezTo>
                  <a:pt x="227887" y="-7382"/>
                  <a:pt x="161738" y="-12411"/>
                  <a:pt x="117836" y="25286"/>
                </a:cubicBezTo>
                <a:cubicBezTo>
                  <a:pt x="102648" y="38328"/>
                  <a:pt x="91514" y="55448"/>
                  <a:pt x="85752" y="74620"/>
                </a:cubicBezTo>
                <a:cubicBezTo>
                  <a:pt x="55736" y="79879"/>
                  <a:pt x="29546" y="98058"/>
                  <a:pt x="14124" y="124340"/>
                </a:cubicBezTo>
                <a:cubicBezTo>
                  <a:pt x="-9113" y="163870"/>
                  <a:pt x="-3237" y="214029"/>
                  <a:pt x="28507" y="247118"/>
                </a:cubicBezTo>
                <a:cubicBezTo>
                  <a:pt x="18273" y="275458"/>
                  <a:pt x="21206" y="306885"/>
                  <a:pt x="36508" y="332843"/>
                </a:cubicBezTo>
                <a:cubicBezTo>
                  <a:pt x="59930" y="372504"/>
                  <a:pt x="106507" y="392217"/>
                  <a:pt x="151284" y="381420"/>
                </a:cubicBezTo>
                <a:cubicBezTo>
                  <a:pt x="188868" y="425419"/>
                  <a:pt x="255003" y="430621"/>
                  <a:pt x="299002" y="393037"/>
                </a:cubicBezTo>
                <a:cubicBezTo>
                  <a:pt x="314221" y="380037"/>
                  <a:pt x="325398" y="362949"/>
                  <a:pt x="331211" y="343796"/>
                </a:cubicBezTo>
                <a:cubicBezTo>
                  <a:pt x="361227" y="338538"/>
                  <a:pt x="387417" y="320358"/>
                  <a:pt x="402839" y="294076"/>
                </a:cubicBezTo>
                <a:cubicBezTo>
                  <a:pt x="416833" y="270567"/>
                  <a:pt x="420748" y="242406"/>
                  <a:pt x="413698" y="215971"/>
                </a:cubicBezTo>
                <a:close/>
                <a:moveTo>
                  <a:pt x="335688" y="313793"/>
                </a:moveTo>
                <a:cubicBezTo>
                  <a:pt x="335553" y="311512"/>
                  <a:pt x="334209" y="309478"/>
                  <a:pt x="332164" y="308459"/>
                </a:cubicBezTo>
                <a:lnTo>
                  <a:pt x="332164" y="211399"/>
                </a:lnTo>
                <a:cubicBezTo>
                  <a:pt x="333057" y="207265"/>
                  <a:pt x="331118" y="203036"/>
                  <a:pt x="327401" y="201017"/>
                </a:cubicBezTo>
                <a:lnTo>
                  <a:pt x="232151" y="147200"/>
                </a:lnTo>
                <a:lnTo>
                  <a:pt x="266536" y="127674"/>
                </a:lnTo>
                <a:lnTo>
                  <a:pt x="347118" y="173489"/>
                </a:lnTo>
                <a:cubicBezTo>
                  <a:pt x="365328" y="183740"/>
                  <a:pt x="378622" y="200916"/>
                  <a:pt x="383980" y="221114"/>
                </a:cubicBezTo>
                <a:cubicBezTo>
                  <a:pt x="389360" y="240939"/>
                  <a:pt x="386509" y="262096"/>
                  <a:pt x="376074" y="279788"/>
                </a:cubicBezTo>
                <a:cubicBezTo>
                  <a:pt x="366973" y="295472"/>
                  <a:pt x="352693" y="307497"/>
                  <a:pt x="335688" y="313793"/>
                </a:cubicBezTo>
                <a:close/>
                <a:moveTo>
                  <a:pt x="81180" y="104243"/>
                </a:moveTo>
                <a:cubicBezTo>
                  <a:pt x="81313" y="106551"/>
                  <a:pt x="82704" y="108599"/>
                  <a:pt x="84799" y="109577"/>
                </a:cubicBezTo>
                <a:lnTo>
                  <a:pt x="84799" y="206636"/>
                </a:lnTo>
                <a:cubicBezTo>
                  <a:pt x="83632" y="210771"/>
                  <a:pt x="85599" y="215148"/>
                  <a:pt x="89467" y="217019"/>
                </a:cubicBezTo>
                <a:lnTo>
                  <a:pt x="184717" y="270835"/>
                </a:lnTo>
                <a:lnTo>
                  <a:pt x="150331" y="290361"/>
                </a:lnTo>
                <a:lnTo>
                  <a:pt x="69369" y="244451"/>
                </a:lnTo>
                <a:cubicBezTo>
                  <a:pt x="51159" y="234200"/>
                  <a:pt x="37865" y="217024"/>
                  <a:pt x="32507" y="196826"/>
                </a:cubicBezTo>
                <a:cubicBezTo>
                  <a:pt x="27126" y="177001"/>
                  <a:pt x="29977" y="155844"/>
                  <a:pt x="40413" y="138152"/>
                </a:cubicBezTo>
                <a:cubicBezTo>
                  <a:pt x="49625" y="122435"/>
                  <a:pt x="64048" y="110439"/>
                  <a:pt x="81180" y="104243"/>
                </a:cubicBezTo>
                <a:close/>
                <a:moveTo>
                  <a:pt x="364168" y="152439"/>
                </a:moveTo>
                <a:cubicBezTo>
                  <a:pt x="362138" y="151408"/>
                  <a:pt x="359807" y="151138"/>
                  <a:pt x="357595" y="151677"/>
                </a:cubicBezTo>
                <a:lnTo>
                  <a:pt x="272823" y="103481"/>
                </a:lnTo>
                <a:cubicBezTo>
                  <a:pt x="269159" y="101409"/>
                  <a:pt x="264676" y="101409"/>
                  <a:pt x="261012" y="103481"/>
                </a:cubicBezTo>
                <a:lnTo>
                  <a:pt x="164428" y="158630"/>
                </a:lnTo>
                <a:lnTo>
                  <a:pt x="164428" y="118625"/>
                </a:lnTo>
                <a:lnTo>
                  <a:pt x="246534" y="72810"/>
                </a:lnTo>
                <a:lnTo>
                  <a:pt x="246534" y="72810"/>
                </a:lnTo>
                <a:cubicBezTo>
                  <a:pt x="284364" y="51275"/>
                  <a:pt x="332472" y="63980"/>
                  <a:pt x="354738" y="101385"/>
                </a:cubicBezTo>
                <a:cubicBezTo>
                  <a:pt x="363805" y="116828"/>
                  <a:pt x="367143" y="134970"/>
                  <a:pt x="364168" y="152630"/>
                </a:cubicBezTo>
                <a:close/>
                <a:moveTo>
                  <a:pt x="208434" y="161393"/>
                </a:moveTo>
                <a:lnTo>
                  <a:pt x="252439" y="186348"/>
                </a:lnTo>
                <a:lnTo>
                  <a:pt x="252439" y="232354"/>
                </a:lnTo>
                <a:lnTo>
                  <a:pt x="208434" y="256643"/>
                </a:lnTo>
                <a:lnTo>
                  <a:pt x="164524" y="231687"/>
                </a:lnTo>
                <a:lnTo>
                  <a:pt x="164524" y="185967"/>
                </a:lnTo>
                <a:close/>
                <a:moveTo>
                  <a:pt x="233008" y="53093"/>
                </a:moveTo>
                <a:lnTo>
                  <a:pt x="146807" y="101290"/>
                </a:lnTo>
                <a:cubicBezTo>
                  <a:pt x="142980" y="103221"/>
                  <a:pt x="140914" y="107470"/>
                  <a:pt x="141759" y="111672"/>
                </a:cubicBezTo>
                <a:lnTo>
                  <a:pt x="141759" y="218543"/>
                </a:lnTo>
                <a:lnTo>
                  <a:pt x="107088" y="199493"/>
                </a:lnTo>
                <a:lnTo>
                  <a:pt x="107088" y="109958"/>
                </a:lnTo>
                <a:cubicBezTo>
                  <a:pt x="107142" y="109324"/>
                  <a:pt x="107142" y="108686"/>
                  <a:pt x="107088" y="108053"/>
                </a:cubicBezTo>
                <a:cubicBezTo>
                  <a:pt x="107595" y="64288"/>
                  <a:pt x="143485" y="29221"/>
                  <a:pt x="187249" y="29728"/>
                </a:cubicBezTo>
                <a:cubicBezTo>
                  <a:pt x="205447" y="29939"/>
                  <a:pt x="223018" y="36407"/>
                  <a:pt x="237009" y="48045"/>
                </a:cubicBezTo>
                <a:cubicBezTo>
                  <a:pt x="235130" y="49212"/>
                  <a:pt x="233715" y="50997"/>
                  <a:pt x="233008" y="53093"/>
                </a:cubicBezTo>
                <a:close/>
                <a:moveTo>
                  <a:pt x="52700" y="265406"/>
                </a:moveTo>
                <a:cubicBezTo>
                  <a:pt x="53970" y="266057"/>
                  <a:pt x="55369" y="266415"/>
                  <a:pt x="56796" y="266453"/>
                </a:cubicBezTo>
                <a:cubicBezTo>
                  <a:pt x="57618" y="266561"/>
                  <a:pt x="58450" y="266561"/>
                  <a:pt x="59272" y="266453"/>
                </a:cubicBezTo>
                <a:lnTo>
                  <a:pt x="144045" y="314650"/>
                </a:lnTo>
                <a:cubicBezTo>
                  <a:pt x="147704" y="316741"/>
                  <a:pt x="152196" y="316741"/>
                  <a:pt x="155856" y="314650"/>
                </a:cubicBezTo>
                <a:lnTo>
                  <a:pt x="252535" y="259691"/>
                </a:lnTo>
                <a:lnTo>
                  <a:pt x="252535" y="299696"/>
                </a:lnTo>
                <a:lnTo>
                  <a:pt x="170334" y="345225"/>
                </a:lnTo>
                <a:lnTo>
                  <a:pt x="170334" y="345225"/>
                </a:lnTo>
                <a:cubicBezTo>
                  <a:pt x="132503" y="366760"/>
                  <a:pt x="84395" y="354056"/>
                  <a:pt x="62130" y="316650"/>
                </a:cubicBezTo>
                <a:cubicBezTo>
                  <a:pt x="53063" y="301207"/>
                  <a:pt x="49724" y="283064"/>
                  <a:pt x="52700" y="265406"/>
                </a:cubicBezTo>
                <a:close/>
                <a:moveTo>
                  <a:pt x="183859" y="364942"/>
                </a:moveTo>
                <a:lnTo>
                  <a:pt x="270156" y="316841"/>
                </a:lnTo>
                <a:cubicBezTo>
                  <a:pt x="273986" y="314870"/>
                  <a:pt x="276017" y="310574"/>
                  <a:pt x="275109" y="306363"/>
                </a:cubicBezTo>
                <a:lnTo>
                  <a:pt x="275109" y="199493"/>
                </a:lnTo>
                <a:lnTo>
                  <a:pt x="309685" y="218543"/>
                </a:lnTo>
                <a:lnTo>
                  <a:pt x="309685" y="308078"/>
                </a:lnTo>
                <a:cubicBezTo>
                  <a:pt x="309630" y="308711"/>
                  <a:pt x="309630" y="309349"/>
                  <a:pt x="309685" y="309983"/>
                </a:cubicBezTo>
                <a:cubicBezTo>
                  <a:pt x="309134" y="353746"/>
                  <a:pt x="273211" y="388778"/>
                  <a:pt x="229446" y="388228"/>
                </a:cubicBezTo>
                <a:cubicBezTo>
                  <a:pt x="211317" y="388000"/>
                  <a:pt x="193815" y="381563"/>
                  <a:pt x="179859" y="369990"/>
                </a:cubicBezTo>
                <a:cubicBezTo>
                  <a:pt x="181738" y="368823"/>
                  <a:pt x="183153" y="367038"/>
                  <a:pt x="183859" y="364942"/>
                </a:cubicBezTo>
                <a:close/>
              </a:path>
            </a:pathLst>
          </a:custGeom>
          <a:solidFill>
            <a:srgbClr val="49C5B1">
              <a:lumMod val="75000"/>
            </a:srgbClr>
          </a:solidFill>
          <a:ln w="9525"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7FDCF7"/>
              </a:solidFill>
              <a:effectLst/>
              <a:uLnTx/>
              <a:uFillTx/>
              <a:latin typeface="Calibri" panose="020F0502020204030204"/>
              <a:cs typeface="+mn-cs"/>
            </a:endParaRPr>
          </a:p>
        </p:txBody>
      </p:sp>
      <p:sp>
        <p:nvSpPr>
          <p:cNvPr id="26" name="TextBox 25">
            <a:extLst>
              <a:ext uri="{FF2B5EF4-FFF2-40B4-BE49-F238E27FC236}">
                <a16:creationId xmlns:a16="http://schemas.microsoft.com/office/drawing/2014/main" id="{444B5B59-5A38-1C66-0961-E9163A20D73F}"/>
              </a:ext>
            </a:extLst>
          </p:cNvPr>
          <p:cNvSpPr txBox="1"/>
          <p:nvPr/>
        </p:nvSpPr>
        <p:spPr>
          <a:xfrm>
            <a:off x="1564404" y="4021480"/>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a:solidFill>
                  <a:srgbClr val="49C5B1">
                    <a:lumMod val="75000"/>
                  </a:srgbClr>
                </a:solidFill>
                <a:latin typeface="Segoe UI"/>
                <a:cs typeface="+mn-cs"/>
              </a:rPr>
              <a:t>Distributed ML</a:t>
            </a:r>
            <a:br>
              <a:rPr lang="en-US" sz="1600" b="0">
                <a:solidFill>
                  <a:srgbClr val="FFFFFF"/>
                </a:solidFill>
                <a:latin typeface="Segoe UI"/>
                <a:cs typeface="+mn-cs"/>
              </a:rPr>
            </a:br>
            <a:r>
              <a:rPr lang="en-US" sz="1600" b="0">
                <a:solidFill>
                  <a:srgbClr val="49C5B1">
                    <a:lumMod val="75000"/>
                  </a:srgbClr>
                </a:solidFill>
                <a:latin typeface="Segoe UI"/>
                <a:cs typeface="+mn-cs"/>
              </a:rPr>
              <a:t>Model Training</a:t>
            </a:r>
            <a:endParaRPr lang="en-US" sz="1600" b="0">
              <a:solidFill>
                <a:srgbClr val="49C5B1">
                  <a:lumMod val="75000"/>
                </a:srgbClr>
              </a:solidFill>
              <a:latin typeface="Segoe UI"/>
              <a:cs typeface="Segoe UI"/>
            </a:endParaRPr>
          </a:p>
        </p:txBody>
      </p:sp>
      <p:sp>
        <p:nvSpPr>
          <p:cNvPr id="27" name="TextBox 26">
            <a:extLst>
              <a:ext uri="{FF2B5EF4-FFF2-40B4-BE49-F238E27FC236}">
                <a16:creationId xmlns:a16="http://schemas.microsoft.com/office/drawing/2014/main" id="{3BFA3FD5-6870-D391-D977-3E6B1E8E7C59}"/>
              </a:ext>
            </a:extLst>
          </p:cNvPr>
          <p:cNvSpPr txBox="1"/>
          <p:nvPr/>
        </p:nvSpPr>
        <p:spPr>
          <a:xfrm>
            <a:off x="3978722" y="4013036"/>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err="1">
                <a:solidFill>
                  <a:srgbClr val="49C5B1">
                    <a:lumMod val="75000"/>
                  </a:srgbClr>
                </a:solidFill>
                <a:latin typeface="Segoe UI"/>
                <a:cs typeface="+mn-cs"/>
              </a:rPr>
              <a:t>MLflow</a:t>
            </a:r>
            <a:br>
              <a:rPr lang="en-US" sz="1600" b="0">
                <a:solidFill>
                  <a:srgbClr val="FFFFFF"/>
                </a:solidFill>
                <a:latin typeface="Segoe UI"/>
                <a:cs typeface="+mn-cs"/>
              </a:rPr>
            </a:br>
            <a:r>
              <a:rPr lang="en-US" sz="1600" b="0">
                <a:solidFill>
                  <a:srgbClr val="49C5B1">
                    <a:lumMod val="75000"/>
                  </a:srgbClr>
                </a:solidFill>
                <a:latin typeface="Segoe UI"/>
                <a:cs typeface="+mn-cs"/>
              </a:rPr>
              <a:t>support</a:t>
            </a:r>
            <a:endParaRPr lang="en-US" sz="1600" b="0">
              <a:solidFill>
                <a:srgbClr val="49C5B1">
                  <a:lumMod val="75000"/>
                </a:srgbClr>
              </a:solidFill>
              <a:latin typeface="Segoe UI"/>
              <a:cs typeface="Segoe UI"/>
            </a:endParaRPr>
          </a:p>
        </p:txBody>
      </p:sp>
      <p:sp>
        <p:nvSpPr>
          <p:cNvPr id="29" name="TextBox 28">
            <a:extLst>
              <a:ext uri="{FF2B5EF4-FFF2-40B4-BE49-F238E27FC236}">
                <a16:creationId xmlns:a16="http://schemas.microsoft.com/office/drawing/2014/main" id="{5D082CA8-270E-A271-09FA-ADBCE7A5A589}"/>
              </a:ext>
            </a:extLst>
          </p:cNvPr>
          <p:cNvSpPr txBox="1"/>
          <p:nvPr/>
        </p:nvSpPr>
        <p:spPr>
          <a:xfrm>
            <a:off x="6386826" y="4027872"/>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a:solidFill>
                  <a:srgbClr val="49C5B1">
                    <a:lumMod val="75000"/>
                  </a:srgbClr>
                </a:solidFill>
                <a:latin typeface="Segoe UI"/>
                <a:cs typeface="+mn-cs"/>
              </a:rPr>
              <a:t>Cognitive</a:t>
            </a:r>
            <a:br>
              <a:rPr lang="en-US" sz="1600" b="0">
                <a:solidFill>
                  <a:srgbClr val="FFFFFF"/>
                </a:solidFill>
                <a:latin typeface="Segoe UI"/>
                <a:cs typeface="+mn-cs"/>
              </a:rPr>
            </a:br>
            <a:r>
              <a:rPr lang="en-US" sz="1600" b="0">
                <a:solidFill>
                  <a:srgbClr val="49C5B1">
                    <a:lumMod val="75000"/>
                  </a:srgbClr>
                </a:solidFill>
                <a:latin typeface="Segoe UI"/>
                <a:cs typeface="+mn-cs"/>
              </a:rPr>
              <a:t>Services</a:t>
            </a:r>
            <a:endParaRPr lang="en-US" sz="1600" b="0">
              <a:solidFill>
                <a:srgbClr val="49C5B1">
                  <a:lumMod val="75000"/>
                </a:srgbClr>
              </a:solidFill>
              <a:latin typeface="Segoe UI"/>
              <a:cs typeface="Segoe UI"/>
            </a:endParaRPr>
          </a:p>
        </p:txBody>
      </p:sp>
      <p:sp>
        <p:nvSpPr>
          <p:cNvPr id="52" name="TextBox 51">
            <a:extLst>
              <a:ext uri="{FF2B5EF4-FFF2-40B4-BE49-F238E27FC236}">
                <a16:creationId xmlns:a16="http://schemas.microsoft.com/office/drawing/2014/main" id="{41FB4A8C-D33C-AB7A-33E7-531175EA6DC4}"/>
              </a:ext>
            </a:extLst>
          </p:cNvPr>
          <p:cNvSpPr txBox="1"/>
          <p:nvPr/>
        </p:nvSpPr>
        <p:spPr>
          <a:xfrm>
            <a:off x="8805739" y="4027872"/>
            <a:ext cx="1826454" cy="584775"/>
          </a:xfrm>
          <a:prstGeom prst="rect">
            <a:avLst/>
          </a:prstGeom>
          <a:noFill/>
        </p:spPr>
        <p:txBody>
          <a:bodyPr wrap="square" lIns="91440" tIns="45720" rIns="91440" bIns="45720" anchor="t">
            <a:spAutoFit/>
          </a:bodyPr>
          <a:lstStyle/>
          <a:p>
            <a:pPr algn="ctr" defTabSz="914367" fontAlgn="auto">
              <a:spcBef>
                <a:spcPts val="0"/>
              </a:spcBef>
              <a:spcAft>
                <a:spcPts val="0"/>
              </a:spcAft>
            </a:pPr>
            <a:r>
              <a:rPr lang="en-US" sz="1600" b="0" err="1">
                <a:solidFill>
                  <a:srgbClr val="49C5B1">
                    <a:lumMod val="75000"/>
                  </a:srgbClr>
                </a:solidFill>
                <a:latin typeface="Segoe UI"/>
                <a:cs typeface="+mn-cs"/>
              </a:rPr>
              <a:t>OpenAI</a:t>
            </a:r>
            <a:br>
              <a:rPr lang="en-US" sz="1600" b="0">
                <a:solidFill>
                  <a:srgbClr val="FFFFFF"/>
                </a:solidFill>
                <a:latin typeface="Segoe UI"/>
                <a:cs typeface="+mn-cs"/>
              </a:rPr>
            </a:br>
            <a:r>
              <a:rPr lang="en-US" sz="1600" b="0">
                <a:solidFill>
                  <a:srgbClr val="49C5B1">
                    <a:lumMod val="75000"/>
                  </a:srgbClr>
                </a:solidFill>
                <a:latin typeface="Segoe UI"/>
                <a:cs typeface="+mn-cs"/>
              </a:rPr>
              <a:t>LLMs</a:t>
            </a:r>
            <a:endParaRPr lang="en-US" sz="1600" b="0">
              <a:solidFill>
                <a:srgbClr val="49C5B1">
                  <a:lumMod val="75000"/>
                </a:srgbClr>
              </a:solidFill>
              <a:latin typeface="Segoe UI"/>
              <a:cs typeface="Segoe UI"/>
            </a:endParaRPr>
          </a:p>
        </p:txBody>
      </p:sp>
    </p:spTree>
    <p:extLst>
      <p:ext uri="{BB962C8B-B14F-4D97-AF65-F5344CB8AC3E}">
        <p14:creationId xmlns:p14="http://schemas.microsoft.com/office/powerpoint/2010/main" val="34428101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p:txBody>
          <a:bodyPr/>
          <a:lstStyle/>
          <a:p>
            <a:r>
              <a:rPr lang="en-US" dirty="0"/>
              <a:t>real-time analytics</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25734328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9AC5F157-A70B-58FA-C184-BE822D8E9617}"/>
              </a:ext>
            </a:extLst>
          </p:cNvPr>
          <p:cNvSpPr txBox="1">
            <a:spLocks/>
          </p:cNvSpPr>
          <p:nvPr/>
        </p:nvSpPr>
        <p:spPr>
          <a:xfrm>
            <a:off x="293686" y="286673"/>
            <a:ext cx="11604625" cy="430887"/>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j-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j-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H" dirty="0"/>
              <a:t>Paradigm shift in Data Consumption</a:t>
            </a:r>
          </a:p>
        </p:txBody>
      </p:sp>
      <p:sp>
        <p:nvSpPr>
          <p:cNvPr id="6" name="TextBox 5">
            <a:extLst>
              <a:ext uri="{FF2B5EF4-FFF2-40B4-BE49-F238E27FC236}">
                <a16:creationId xmlns:a16="http://schemas.microsoft.com/office/drawing/2014/main" id="{17EE2E00-B772-2296-20D4-24AF35D55B80}"/>
              </a:ext>
            </a:extLst>
          </p:cNvPr>
          <p:cNvSpPr txBox="1"/>
          <p:nvPr/>
        </p:nvSpPr>
        <p:spPr>
          <a:xfrm>
            <a:off x="293686" y="1845756"/>
            <a:ext cx="7114279" cy="3724096"/>
          </a:xfrm>
          <a:prstGeom prst="rect">
            <a:avLst/>
          </a:prstGeom>
          <a:noFill/>
        </p:spPr>
        <p:txBody>
          <a:bodyPr wrap="square" lIns="0" tIns="0" rIns="0" bIns="0" rtlCol="0">
            <a:spAutoFit/>
          </a:bodyPr>
          <a:lstStyle/>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Big Data Platforms</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Terabytes of data</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Low latency</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High freshness</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Streaming technologies</a:t>
            </a:r>
          </a:p>
          <a:p>
            <a:pPr marL="571500" indent="-571500" defTabSz="914367" fontAlgn="auto">
              <a:spcBef>
                <a:spcPts val="0"/>
              </a:spcBef>
              <a:spcAft>
                <a:spcPts val="1200"/>
              </a:spcAft>
              <a:buFont typeface="Arial" panose="020B0604020202020204" pitchFamily="34" charset="0"/>
              <a:buChar char="•"/>
            </a:pPr>
            <a:r>
              <a:rPr lang="en-CH" sz="3200" b="0" dirty="0">
                <a:solidFill>
                  <a:srgbClr val="000000"/>
                </a:solidFill>
                <a:latin typeface="Segoe UI"/>
                <a:cs typeface="+mn-cs"/>
              </a:rPr>
              <a:t>Index everything by default</a:t>
            </a:r>
          </a:p>
        </p:txBody>
      </p:sp>
      <p:pic>
        <p:nvPicPr>
          <p:cNvPr id="7" name="Picture 6" descr="Illuminated server room panel">
            <a:extLst>
              <a:ext uri="{FF2B5EF4-FFF2-40B4-BE49-F238E27FC236}">
                <a16:creationId xmlns:a16="http://schemas.microsoft.com/office/drawing/2014/main" id="{27C3E89C-AD57-6304-3122-141FC151EAA4}"/>
              </a:ext>
            </a:extLst>
          </p:cNvPr>
          <p:cNvPicPr>
            <a:picLocks noChangeAspect="1"/>
          </p:cNvPicPr>
          <p:nvPr/>
        </p:nvPicPr>
        <p:blipFill rotWithShape="1">
          <a:blip r:embed="rId2"/>
          <a:srcRect l="-597" t="-298" r="44945" b="298"/>
          <a:stretch/>
        </p:blipFill>
        <p:spPr>
          <a:xfrm>
            <a:off x="7659756" y="1410175"/>
            <a:ext cx="3708468" cy="4441371"/>
          </a:xfrm>
          <a:prstGeom prst="rect">
            <a:avLst/>
          </a:prstGeom>
        </p:spPr>
      </p:pic>
    </p:spTree>
    <p:extLst>
      <p:ext uri="{BB962C8B-B14F-4D97-AF65-F5344CB8AC3E}">
        <p14:creationId xmlns:p14="http://schemas.microsoft.com/office/powerpoint/2010/main" val="1542054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1AA51CB1-2C23-E6DB-149C-1F3130A43AD0}"/>
              </a:ext>
            </a:extLst>
          </p:cNvPr>
          <p:cNvSpPr txBox="1">
            <a:spLocks/>
          </p:cNvSpPr>
          <p:nvPr/>
        </p:nvSpPr>
        <p:spPr>
          <a:xfrm>
            <a:off x="293686" y="286673"/>
            <a:ext cx="11604625" cy="430887"/>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R="0" indent="-228600"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spc="0" baseline="0">
                <a:solidFill>
                  <a:srgbClr val="000000"/>
                </a:solidFill>
                <a:latin typeface="+mj-lt"/>
                <a:cs typeface="+mn-cs"/>
              </a:defRPr>
            </a:lvl2pPr>
            <a:lvl3pPr marL="657225" marR="0" indent="-20002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latin typeface="+mj-lt"/>
                <a:cs typeface="+mn-cs"/>
              </a:defRPr>
            </a:lvl3pPr>
            <a:lvl4pPr marL="842963" marR="0" indent="-1809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4pPr>
            <a:lvl5pPr marL="1023938" marR="0" indent="-1682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5pPr>
            <a:lvl6pPr marL="2565040" indent="-233186" defTabSz="932742">
              <a:spcBef>
                <a:spcPct val="20000"/>
              </a:spcBef>
              <a:buFont typeface="Arial" pitchFamily="34" charset="0"/>
              <a:buChar char="•"/>
              <a:defRPr sz="2000">
                <a:latin typeface="+mn-lt"/>
                <a:cs typeface="+mn-cs"/>
              </a:defRPr>
            </a:lvl6pPr>
            <a:lvl7pPr marL="3031412" indent="-233186" defTabSz="932742">
              <a:spcBef>
                <a:spcPct val="20000"/>
              </a:spcBef>
              <a:buFont typeface="Arial" pitchFamily="34" charset="0"/>
              <a:buChar char="•"/>
              <a:defRPr sz="2000">
                <a:latin typeface="+mn-lt"/>
                <a:cs typeface="+mn-cs"/>
              </a:defRPr>
            </a:lvl7pPr>
            <a:lvl8pPr marL="3497783" indent="-233186" defTabSz="932742">
              <a:spcBef>
                <a:spcPct val="20000"/>
              </a:spcBef>
              <a:buFont typeface="Arial" pitchFamily="34" charset="0"/>
              <a:buChar char="•"/>
              <a:defRPr sz="2000">
                <a:latin typeface="+mn-lt"/>
                <a:cs typeface="+mn-cs"/>
              </a:defRPr>
            </a:lvl8pPr>
            <a:lvl9pPr marL="3964155" indent="-233186" defTabSz="932742">
              <a:spcBef>
                <a:spcPct val="20000"/>
              </a:spcBef>
              <a:buFont typeface="Arial" pitchFamily="34" charset="0"/>
              <a:buChar char="•"/>
              <a:defRPr sz="2000">
                <a:latin typeface="+mn-lt"/>
                <a:cs typeface="+mn-cs"/>
              </a:defRPr>
            </a:lvl9pPr>
          </a:lstStyle>
          <a:p>
            <a:r>
              <a:rPr lang="en-CH" dirty="0"/>
              <a:t>Real-Time Analytics in Fabric - </a:t>
            </a:r>
            <a:r>
              <a:rPr lang="en-CH"/>
              <a:t>Reducing Complexity</a:t>
            </a:r>
            <a:endParaRPr lang="en-CH" dirty="0"/>
          </a:p>
        </p:txBody>
      </p:sp>
      <p:sp>
        <p:nvSpPr>
          <p:cNvPr id="6" name="TextBox 5">
            <a:extLst>
              <a:ext uri="{FF2B5EF4-FFF2-40B4-BE49-F238E27FC236}">
                <a16:creationId xmlns:a16="http://schemas.microsoft.com/office/drawing/2014/main" id="{3841ED13-8D7A-D247-1E74-1474C6F7BFF5}"/>
              </a:ext>
            </a:extLst>
          </p:cNvPr>
          <p:cNvSpPr txBox="1"/>
          <p:nvPr/>
        </p:nvSpPr>
        <p:spPr>
          <a:xfrm>
            <a:off x="293686" y="1920895"/>
            <a:ext cx="6623949" cy="3447098"/>
          </a:xfrm>
          <a:prstGeom prst="rect">
            <a:avLst/>
          </a:prstGeom>
          <a:noFill/>
        </p:spPr>
        <p:txBody>
          <a:bodyPr wrap="square" lIns="0" tIns="0" rIns="0" bIns="0" rtlCol="0">
            <a:spAutoFit/>
          </a:bodyPr>
          <a:lstStyle/>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Built on top off Azure Data Explorer</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One Logical Copy</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By-default streaming ingestion</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By-default indexing everything</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Time and Hash based data partitioning</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Native support for structured, semi-structured and free text data</a:t>
            </a:r>
          </a:p>
          <a:p>
            <a:pPr marL="342900" indent="-342900" defTabSz="914367" fontAlgn="auto">
              <a:spcBef>
                <a:spcPts val="0"/>
              </a:spcBef>
              <a:spcAft>
                <a:spcPts val="0"/>
              </a:spcAft>
              <a:buFont typeface="Arial" panose="020B0604020202020204" pitchFamily="34" charset="0"/>
              <a:buChar char="•"/>
            </a:pPr>
            <a:r>
              <a:rPr lang="en-GB" sz="2800" b="0" dirty="0">
                <a:solidFill>
                  <a:srgbClr val="000000"/>
                </a:solidFill>
                <a:latin typeface="Segoe UI"/>
                <a:cs typeface="+mn-cs"/>
              </a:rPr>
              <a:t>In-place transformation</a:t>
            </a:r>
          </a:p>
        </p:txBody>
      </p:sp>
      <p:pic>
        <p:nvPicPr>
          <p:cNvPr id="7" name="Picture 6">
            <a:extLst>
              <a:ext uri="{FF2B5EF4-FFF2-40B4-BE49-F238E27FC236}">
                <a16:creationId xmlns:a16="http://schemas.microsoft.com/office/drawing/2014/main" id="{E5600770-6BCA-5470-BDAC-59130BAC735D}"/>
              </a:ext>
            </a:extLst>
          </p:cNvPr>
          <p:cNvPicPr>
            <a:picLocks noChangeAspect="1"/>
          </p:cNvPicPr>
          <p:nvPr/>
        </p:nvPicPr>
        <p:blipFill rotWithShape="1">
          <a:blip r:embed="rId2"/>
          <a:srcRect l="-501" r="-3790" b="-432"/>
          <a:stretch/>
        </p:blipFill>
        <p:spPr>
          <a:xfrm>
            <a:off x="7407965" y="1383671"/>
            <a:ext cx="4622868" cy="4460538"/>
          </a:xfrm>
          <a:prstGeom prst="rect">
            <a:avLst/>
          </a:prstGeom>
        </p:spPr>
      </p:pic>
    </p:spTree>
    <p:extLst>
      <p:ext uri="{BB962C8B-B14F-4D97-AF65-F5344CB8AC3E}">
        <p14:creationId xmlns:p14="http://schemas.microsoft.com/office/powerpoint/2010/main" val="24791425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9267A3DC-7B65-2085-2332-F1363C9C049D}"/>
              </a:ext>
            </a:extLst>
          </p:cNvPr>
          <p:cNvSpPr txBox="1">
            <a:spLocks/>
          </p:cNvSpPr>
          <p:nvPr/>
        </p:nvSpPr>
        <p:spPr>
          <a:xfrm>
            <a:off x="293686" y="286673"/>
            <a:ext cx="11604625" cy="430887"/>
          </a:xfrm>
          <a:prstGeom prst="rect">
            <a:avLst/>
          </a:prstGeom>
        </p:spPr>
        <p:txBody>
          <a:bodyPr vert="horz" wrap="square" lIns="0" tIns="0" rIns="0" bIns="0" rtlCol="0" anchor="t">
            <a:spAutoFit/>
          </a:bodyPr>
          <a:lstStyle>
            <a:defPPr>
              <a:defRPr lang="en-US"/>
            </a:defPPr>
            <a:lvl1pPr marL="0" marR="0" lvl="0" indent="0" algn="ctr" defTabSz="932742" eaLnBrk="1" fontAlgn="auto" latinLnBrk="0" hangingPunct="1">
              <a:lnSpc>
                <a:spcPct val="100000"/>
              </a:lnSpc>
              <a:spcAft>
                <a:spcPts val="0"/>
              </a:spcAft>
              <a:buClrTx/>
              <a:buSzTx/>
              <a:buFontTx/>
              <a:buNone/>
              <a:tabLst/>
              <a:defRPr kumimoji="0" sz="3600" b="0" i="0" u="none" strike="noStrike" cap="none" spc="-50" normalizeH="0" baseline="0">
                <a:ln w="3175">
                  <a:noFill/>
                </a:ln>
                <a:solidFill>
                  <a:srgbClr val="117865"/>
                </a:solidFill>
                <a:effectLst/>
                <a:uLnTx/>
                <a:uFillTx/>
                <a:latin typeface="Segoe UI Semibold"/>
                <a:cs typeface="Segoe UI" pitchFamily="34" charset="0"/>
              </a:defRPr>
            </a:lvl1pPr>
            <a:lvl2pPr marR="0" indent="-228600"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spc="0" baseline="0">
                <a:solidFill>
                  <a:srgbClr val="000000"/>
                </a:solidFill>
                <a:latin typeface="+mj-lt"/>
                <a:cs typeface="+mn-cs"/>
              </a:defRPr>
            </a:lvl2pPr>
            <a:lvl3pPr marL="657225" marR="0" indent="-20002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latin typeface="+mj-lt"/>
                <a:cs typeface="+mn-cs"/>
              </a:defRPr>
            </a:lvl3pPr>
            <a:lvl4pPr marL="842963" marR="0" indent="-1809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4pPr>
            <a:lvl5pPr marL="1023938" marR="0" indent="-168275" algn="ctr" defTabSz="932742"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latin typeface="+mj-lt"/>
                <a:cs typeface="+mn-cs"/>
              </a:defRPr>
            </a:lvl5pPr>
            <a:lvl6pPr marL="2565040" indent="-233186" defTabSz="932742">
              <a:spcBef>
                <a:spcPct val="20000"/>
              </a:spcBef>
              <a:buFont typeface="Arial" pitchFamily="34" charset="0"/>
              <a:buChar char="•"/>
              <a:defRPr sz="2000">
                <a:latin typeface="+mn-lt"/>
                <a:cs typeface="+mn-cs"/>
              </a:defRPr>
            </a:lvl6pPr>
            <a:lvl7pPr marL="3031412" indent="-233186" defTabSz="932742">
              <a:spcBef>
                <a:spcPct val="20000"/>
              </a:spcBef>
              <a:buFont typeface="Arial" pitchFamily="34" charset="0"/>
              <a:buChar char="•"/>
              <a:defRPr sz="2000">
                <a:latin typeface="+mn-lt"/>
                <a:cs typeface="+mn-cs"/>
              </a:defRPr>
            </a:lvl7pPr>
            <a:lvl8pPr marL="3497783" indent="-233186" defTabSz="932742">
              <a:spcBef>
                <a:spcPct val="20000"/>
              </a:spcBef>
              <a:buFont typeface="Arial" pitchFamily="34" charset="0"/>
              <a:buChar char="•"/>
              <a:defRPr sz="2000">
                <a:latin typeface="+mn-lt"/>
                <a:cs typeface="+mn-cs"/>
              </a:defRPr>
            </a:lvl8pPr>
            <a:lvl9pPr marL="3964155" indent="-233186" defTabSz="932742">
              <a:spcBef>
                <a:spcPct val="20000"/>
              </a:spcBef>
              <a:buFont typeface="Arial" pitchFamily="34" charset="0"/>
              <a:buChar char="•"/>
              <a:defRPr sz="2000">
                <a:latin typeface="+mn-lt"/>
                <a:cs typeface="+mn-cs"/>
              </a:defRPr>
            </a:lvl9pPr>
          </a:lstStyle>
          <a:p>
            <a:r>
              <a:rPr lang="en-CH" dirty="0"/>
              <a:t>Real-Time Analytics in Fabric - Simplifying</a:t>
            </a:r>
          </a:p>
        </p:txBody>
      </p:sp>
      <p:sp>
        <p:nvSpPr>
          <p:cNvPr id="9" name="TextBox 8">
            <a:extLst>
              <a:ext uri="{FF2B5EF4-FFF2-40B4-BE49-F238E27FC236}">
                <a16:creationId xmlns:a16="http://schemas.microsoft.com/office/drawing/2014/main" id="{02413A18-FA74-2E2D-2606-F4B466627A7F}"/>
              </a:ext>
            </a:extLst>
          </p:cNvPr>
          <p:cNvSpPr txBox="1"/>
          <p:nvPr/>
        </p:nvSpPr>
        <p:spPr>
          <a:xfrm>
            <a:off x="293686" y="2351782"/>
            <a:ext cx="6623949" cy="2585323"/>
          </a:xfrm>
          <a:prstGeom prst="rect">
            <a:avLst/>
          </a:prstGeom>
          <a:noFill/>
        </p:spPr>
        <p:txBody>
          <a:bodyPr wrap="square" lIns="0" tIns="0" rIns="0" bIns="0" rtlCol="0">
            <a:spAutoFit/>
          </a:bodyPr>
          <a:lstStyle/>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Tightly integrated with Fabric experiences</a:t>
            </a:r>
          </a:p>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Mirroring to Lakehouse</a:t>
            </a:r>
          </a:p>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By-default integration with event streaming sources</a:t>
            </a:r>
          </a:p>
          <a:p>
            <a:pPr marL="457200" indent="-457200" defTabSz="914367" fontAlgn="auto">
              <a:spcBef>
                <a:spcPts val="0"/>
              </a:spcBef>
              <a:spcAft>
                <a:spcPts val="0"/>
              </a:spcAft>
              <a:buFont typeface="Arial" panose="020B0604020202020204" pitchFamily="34" charset="0"/>
              <a:buChar char="•"/>
            </a:pPr>
            <a:r>
              <a:rPr lang="en-GB" sz="2800" b="0">
                <a:solidFill>
                  <a:srgbClr val="000000"/>
                </a:solidFill>
                <a:latin typeface="Segoe UI"/>
                <a:cs typeface="+mn-cs"/>
              </a:rPr>
              <a:t>By-default integration with Power BI</a:t>
            </a:r>
          </a:p>
        </p:txBody>
      </p:sp>
      <p:pic>
        <p:nvPicPr>
          <p:cNvPr id="10" name="Picture 9">
            <a:extLst>
              <a:ext uri="{FF2B5EF4-FFF2-40B4-BE49-F238E27FC236}">
                <a16:creationId xmlns:a16="http://schemas.microsoft.com/office/drawing/2014/main" id="{62EC4CF6-CB0A-38BF-09E9-7BAA78F58714}"/>
              </a:ext>
            </a:extLst>
          </p:cNvPr>
          <p:cNvPicPr>
            <a:picLocks noChangeAspect="1"/>
          </p:cNvPicPr>
          <p:nvPr/>
        </p:nvPicPr>
        <p:blipFill rotWithShape="1">
          <a:blip r:embed="rId2"/>
          <a:srcRect l="-501" r="-3790" b="-432"/>
          <a:stretch/>
        </p:blipFill>
        <p:spPr>
          <a:xfrm>
            <a:off x="7407965" y="1383671"/>
            <a:ext cx="4622868" cy="4460538"/>
          </a:xfrm>
          <a:prstGeom prst="rect">
            <a:avLst/>
          </a:prstGeom>
        </p:spPr>
      </p:pic>
    </p:spTree>
    <p:extLst>
      <p:ext uri="{BB962C8B-B14F-4D97-AF65-F5344CB8AC3E}">
        <p14:creationId xmlns:p14="http://schemas.microsoft.com/office/powerpoint/2010/main" val="19566185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iagram, font&#10;&#10;Description automatically generated">
            <a:extLst>
              <a:ext uri="{FF2B5EF4-FFF2-40B4-BE49-F238E27FC236}">
                <a16:creationId xmlns:a16="http://schemas.microsoft.com/office/drawing/2014/main" id="{7921C850-09C9-0A70-BBEB-AFA15C59D1A0}"/>
              </a:ext>
            </a:extLst>
          </p:cNvPr>
          <p:cNvPicPr>
            <a:picLocks noChangeAspect="1"/>
          </p:cNvPicPr>
          <p:nvPr/>
        </p:nvPicPr>
        <p:blipFill>
          <a:blip r:embed="rId2"/>
          <a:stretch>
            <a:fillRect/>
          </a:stretch>
        </p:blipFill>
        <p:spPr>
          <a:xfrm>
            <a:off x="2554888" y="940904"/>
            <a:ext cx="7082219" cy="5182750"/>
          </a:xfrm>
          <a:prstGeom prst="rect">
            <a:avLst/>
          </a:prstGeom>
        </p:spPr>
      </p:pic>
    </p:spTree>
    <p:extLst>
      <p:ext uri="{BB962C8B-B14F-4D97-AF65-F5344CB8AC3E}">
        <p14:creationId xmlns:p14="http://schemas.microsoft.com/office/powerpoint/2010/main" val="30411008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b size overview and other info">
            <a:extLst>
              <a:ext uri="{FF2B5EF4-FFF2-40B4-BE49-F238E27FC236}">
                <a16:creationId xmlns:a16="http://schemas.microsoft.com/office/drawing/2014/main" id="{BA9076E9-AEC3-D4DC-71ED-6177E0E1A270}"/>
              </a:ext>
            </a:extLst>
          </p:cNvPr>
          <p:cNvPicPr>
            <a:picLocks noChangeAspect="1"/>
          </p:cNvPicPr>
          <p:nvPr/>
        </p:nvPicPr>
        <p:blipFill>
          <a:blip r:embed="rId2"/>
          <a:stretch>
            <a:fillRect/>
          </a:stretch>
        </p:blipFill>
        <p:spPr>
          <a:xfrm>
            <a:off x="838200" y="371528"/>
            <a:ext cx="7312854" cy="3470897"/>
          </a:xfrm>
          <a:prstGeom prst="rect">
            <a:avLst/>
          </a:prstGeom>
        </p:spPr>
      </p:pic>
      <p:pic>
        <p:nvPicPr>
          <p:cNvPr id="4" name="Picture 3" descr="resulting KQL command of explain is executed">
            <a:extLst>
              <a:ext uri="{FF2B5EF4-FFF2-40B4-BE49-F238E27FC236}">
                <a16:creationId xmlns:a16="http://schemas.microsoft.com/office/drawing/2014/main" id="{A5B48512-DE93-A00D-172F-672B388F7ACC}"/>
              </a:ext>
            </a:extLst>
          </p:cNvPr>
          <p:cNvPicPr>
            <a:picLocks noChangeAspect="1"/>
          </p:cNvPicPr>
          <p:nvPr/>
        </p:nvPicPr>
        <p:blipFill>
          <a:blip r:embed="rId3"/>
          <a:stretch>
            <a:fillRect/>
          </a:stretch>
        </p:blipFill>
        <p:spPr>
          <a:xfrm>
            <a:off x="4699756" y="4031709"/>
            <a:ext cx="6896259" cy="2155081"/>
          </a:xfrm>
          <a:prstGeom prst="rect">
            <a:avLst/>
          </a:prstGeom>
        </p:spPr>
      </p:pic>
    </p:spTree>
    <p:extLst>
      <p:ext uri="{BB962C8B-B14F-4D97-AF65-F5344CB8AC3E}">
        <p14:creationId xmlns:p14="http://schemas.microsoft.com/office/powerpoint/2010/main" val="2644149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D3CBEF-945F-F6E9-1246-675194A874C3}"/>
              </a:ext>
            </a:extLst>
          </p:cNvPr>
          <p:cNvSpPr>
            <a:spLocks noGrp="1"/>
          </p:cNvSpPr>
          <p:nvPr>
            <p:ph type="title"/>
          </p:nvPr>
        </p:nvSpPr>
        <p:spPr/>
        <p:txBody>
          <a:bodyPr/>
          <a:lstStyle/>
          <a:p>
            <a:r>
              <a:rPr lang="en-US" dirty="0"/>
              <a:t>the modern data stack</a:t>
            </a:r>
            <a:endParaRPr lang="nl-BE" dirty="0"/>
          </a:p>
        </p:txBody>
      </p:sp>
      <p:pic>
        <p:nvPicPr>
          <p:cNvPr id="3074" name="Picture 2">
            <a:extLst>
              <a:ext uri="{FF2B5EF4-FFF2-40B4-BE49-F238E27FC236}">
                <a16:creationId xmlns:a16="http://schemas.microsoft.com/office/drawing/2014/main" id="{42067BB5-B6E9-60E4-A7FF-6C77487C24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02685"/>
            <a:ext cx="12192000" cy="6305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01342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me series rendered by KQL">
            <a:extLst>
              <a:ext uri="{FF2B5EF4-FFF2-40B4-BE49-F238E27FC236}">
                <a16:creationId xmlns:a16="http://schemas.microsoft.com/office/drawing/2014/main" id="{690E0165-AB02-9AAB-0953-5126171AB462}"/>
              </a:ext>
            </a:extLst>
          </p:cNvPr>
          <p:cNvPicPr>
            <a:picLocks noChangeAspect="1"/>
          </p:cNvPicPr>
          <p:nvPr/>
        </p:nvPicPr>
        <p:blipFill>
          <a:blip r:embed="rId2"/>
          <a:stretch>
            <a:fillRect/>
          </a:stretch>
        </p:blipFill>
        <p:spPr>
          <a:xfrm>
            <a:off x="2030820" y="807355"/>
            <a:ext cx="8130359" cy="5243290"/>
          </a:xfrm>
          <a:prstGeom prst="rect">
            <a:avLst/>
          </a:prstGeom>
        </p:spPr>
      </p:pic>
    </p:spTree>
    <p:extLst>
      <p:ext uri="{BB962C8B-B14F-4D97-AF65-F5344CB8AC3E}">
        <p14:creationId xmlns:p14="http://schemas.microsoft.com/office/powerpoint/2010/main" val="26823818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creenshot showing the data preview for an eventstream.">
            <a:extLst>
              <a:ext uri="{FF2B5EF4-FFF2-40B4-BE49-F238E27FC236}">
                <a16:creationId xmlns:a16="http://schemas.microsoft.com/office/drawing/2014/main" id="{4A993B1F-E64A-76E4-C58D-85E1859CCD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1" cy="6704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9776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a:xfrm>
            <a:off x="841612" y="799151"/>
            <a:ext cx="8642855" cy="1903106"/>
          </a:xfrm>
        </p:spPr>
        <p:txBody>
          <a:bodyPr/>
          <a:lstStyle/>
          <a:p>
            <a:r>
              <a:rPr lang="en-US" dirty="0"/>
              <a:t>business intelligence</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1719697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r>
              <a:rPr lang="en-US" sz="7200" dirty="0"/>
              <a:t>nothing changes for the average Power BI user</a:t>
            </a:r>
            <a:endParaRPr lang="nl-BE" sz="7200" b="1" dirty="0"/>
          </a:p>
        </p:txBody>
      </p:sp>
    </p:spTree>
    <p:extLst>
      <p:ext uri="{BB962C8B-B14F-4D97-AF65-F5344CB8AC3E}">
        <p14:creationId xmlns:p14="http://schemas.microsoft.com/office/powerpoint/2010/main" val="98371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r>
              <a:rPr lang="en-US" sz="7200" dirty="0"/>
              <a:t>except…</a:t>
            </a:r>
            <a:endParaRPr lang="nl-BE" sz="7200" b="1" dirty="0"/>
          </a:p>
        </p:txBody>
      </p:sp>
    </p:spTree>
    <p:extLst>
      <p:ext uri="{BB962C8B-B14F-4D97-AF65-F5344CB8AC3E}">
        <p14:creationId xmlns:p14="http://schemas.microsoft.com/office/powerpoint/2010/main" val="328708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5">
            <a:extLst>
              <a:ext uri="{FF2B5EF4-FFF2-40B4-BE49-F238E27FC236}">
                <a16:creationId xmlns:a16="http://schemas.microsoft.com/office/drawing/2014/main" id="{FD4ED85C-F7E8-0C0F-B103-CFB2AD28F7E1}"/>
              </a:ext>
            </a:extLst>
          </p:cNvPr>
          <p:cNvSpPr txBox="1">
            <a:spLocks/>
          </p:cNvSpPr>
          <p:nvPr/>
        </p:nvSpPr>
        <p:spPr>
          <a:xfrm>
            <a:off x="124871" y="2147229"/>
            <a:ext cx="3338438" cy="43088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nl-BE" sz="2800" b="0" i="0" u="none" strike="noStrike" kern="1200" cap="none" spc="-50" normalizeH="0" baseline="0" noProof="0">
                <a:ln w="3175">
                  <a:noFill/>
                </a:ln>
                <a:solidFill>
                  <a:srgbClr val="117865"/>
                </a:solidFill>
                <a:effectLst/>
                <a:uLnTx/>
                <a:uFillTx/>
                <a:latin typeface="Segoe UI Semibold"/>
                <a:ea typeface="+mn-ea"/>
                <a:cs typeface="Segoe UI" pitchFamily="34" charset="0"/>
              </a:rPr>
              <a:t>“Direct Query Mode”</a:t>
            </a:r>
          </a:p>
        </p:txBody>
      </p:sp>
      <p:grpSp>
        <p:nvGrpSpPr>
          <p:cNvPr id="56" name="Group 55">
            <a:extLst>
              <a:ext uri="{FF2B5EF4-FFF2-40B4-BE49-F238E27FC236}">
                <a16:creationId xmlns:a16="http://schemas.microsoft.com/office/drawing/2014/main" id="{B44836EF-D860-5E13-237D-2E18FD260C9D}"/>
              </a:ext>
            </a:extLst>
          </p:cNvPr>
          <p:cNvGrpSpPr/>
          <p:nvPr/>
        </p:nvGrpSpPr>
        <p:grpSpPr>
          <a:xfrm>
            <a:off x="4004588" y="2071801"/>
            <a:ext cx="8000312" cy="1358765"/>
            <a:chOff x="4245888" y="2071801"/>
            <a:chExt cx="8000312" cy="1358765"/>
          </a:xfrm>
        </p:grpSpPr>
        <p:sp>
          <p:nvSpPr>
            <p:cNvPr id="57" name="Rectangle: Rounded Corners 8">
              <a:extLst>
                <a:ext uri="{FF2B5EF4-FFF2-40B4-BE49-F238E27FC236}">
                  <a16:creationId xmlns:a16="http://schemas.microsoft.com/office/drawing/2014/main" id="{6E32B381-B0FE-523F-FD8D-AB4EC59FC6A8}"/>
                </a:ext>
              </a:extLst>
            </p:cNvPr>
            <p:cNvSpPr/>
            <p:nvPr/>
          </p:nvSpPr>
          <p:spPr>
            <a:xfrm>
              <a:off x="4245888" y="2071801"/>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58" name="TextBox 57">
              <a:extLst>
                <a:ext uri="{FF2B5EF4-FFF2-40B4-BE49-F238E27FC236}">
                  <a16:creationId xmlns:a16="http://schemas.microsoft.com/office/drawing/2014/main" id="{CCAA8648-89E7-D31E-16C4-E5E590D1746D}"/>
                </a:ext>
              </a:extLst>
            </p:cNvPr>
            <p:cNvSpPr txBox="1"/>
            <p:nvPr/>
          </p:nvSpPr>
          <p:spPr>
            <a:xfrm>
              <a:off x="4767752" y="2147229"/>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59" name="Group 58">
              <a:extLst>
                <a:ext uri="{FF2B5EF4-FFF2-40B4-BE49-F238E27FC236}">
                  <a16:creationId xmlns:a16="http://schemas.microsoft.com/office/drawing/2014/main" id="{997A7B02-2080-E317-C4AC-1440D29788AF}"/>
                </a:ext>
              </a:extLst>
            </p:cNvPr>
            <p:cNvGrpSpPr/>
            <p:nvPr/>
          </p:nvGrpSpPr>
          <p:grpSpPr>
            <a:xfrm>
              <a:off x="5109697" y="2453894"/>
              <a:ext cx="681610" cy="603623"/>
              <a:chOff x="7194268" y="2345168"/>
              <a:chExt cx="681610" cy="603623"/>
            </a:xfrm>
          </p:grpSpPr>
          <p:sp>
            <p:nvSpPr>
              <p:cNvPr id="75" name="Flowchart: Multidocument 24">
                <a:extLst>
                  <a:ext uri="{FF2B5EF4-FFF2-40B4-BE49-F238E27FC236}">
                    <a16:creationId xmlns:a16="http://schemas.microsoft.com/office/drawing/2014/main" id="{39A2F95A-A8CB-6FE4-2F7A-C8218EFD8A6C}"/>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76" name="TextBox 75">
                <a:extLst>
                  <a:ext uri="{FF2B5EF4-FFF2-40B4-BE49-F238E27FC236}">
                    <a16:creationId xmlns:a16="http://schemas.microsoft.com/office/drawing/2014/main" id="{EC141828-2604-1542-A534-115B312B5FBD}"/>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77" name="TextBox 76">
                <a:extLst>
                  <a:ext uri="{FF2B5EF4-FFF2-40B4-BE49-F238E27FC236}">
                    <a16:creationId xmlns:a16="http://schemas.microsoft.com/office/drawing/2014/main" id="{AFEDBD11-F5F1-0D74-56AF-3421E672B835}"/>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grpSp>
          <p:nvGrpSpPr>
            <p:cNvPr id="60" name="Group 59">
              <a:extLst>
                <a:ext uri="{FF2B5EF4-FFF2-40B4-BE49-F238E27FC236}">
                  <a16:creationId xmlns:a16="http://schemas.microsoft.com/office/drawing/2014/main" id="{B431E10E-7167-E25C-4965-DFD5C95D852A}"/>
                </a:ext>
              </a:extLst>
            </p:cNvPr>
            <p:cNvGrpSpPr/>
            <p:nvPr/>
          </p:nvGrpSpPr>
          <p:grpSpPr>
            <a:xfrm>
              <a:off x="10991086" y="2511145"/>
              <a:ext cx="788960" cy="762435"/>
              <a:chOff x="10786033" y="2312508"/>
              <a:chExt cx="867856" cy="838678"/>
            </a:xfrm>
          </p:grpSpPr>
          <p:sp>
            <p:nvSpPr>
              <p:cNvPr id="70" name="Oval 69">
                <a:extLst>
                  <a:ext uri="{FF2B5EF4-FFF2-40B4-BE49-F238E27FC236}">
                    <a16:creationId xmlns:a16="http://schemas.microsoft.com/office/drawing/2014/main" id="{BC6D3285-82A4-BA60-258E-3E54FB14C197}"/>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71" name="Graphic 52">
                <a:extLst>
                  <a:ext uri="{FF2B5EF4-FFF2-40B4-BE49-F238E27FC236}">
                    <a16:creationId xmlns:a16="http://schemas.microsoft.com/office/drawing/2014/main" id="{BF9910F5-F722-5F62-0E66-C48B23909B95}"/>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72" name="Freeform 65">
                  <a:extLst>
                    <a:ext uri="{FF2B5EF4-FFF2-40B4-BE49-F238E27FC236}">
                      <a16:creationId xmlns:a16="http://schemas.microsoft.com/office/drawing/2014/main" id="{30120C9E-C261-8176-658E-FEB6C4D70CD3}"/>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73" name="Freeform 66">
                  <a:extLst>
                    <a:ext uri="{FF2B5EF4-FFF2-40B4-BE49-F238E27FC236}">
                      <a16:creationId xmlns:a16="http://schemas.microsoft.com/office/drawing/2014/main" id="{C540DCB3-8C68-FBF4-D037-824E162F818F}"/>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74" name="Freeform 67">
                  <a:extLst>
                    <a:ext uri="{FF2B5EF4-FFF2-40B4-BE49-F238E27FC236}">
                      <a16:creationId xmlns:a16="http://schemas.microsoft.com/office/drawing/2014/main" id="{1B7C38A3-A941-89DA-BECF-7FE01DAF2994}"/>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61" name="Cylinder 32">
              <a:extLst>
                <a:ext uri="{FF2B5EF4-FFF2-40B4-BE49-F238E27FC236}">
                  <a16:creationId xmlns:a16="http://schemas.microsoft.com/office/drawing/2014/main" id="{70AE870C-F633-3147-29A9-E7ECB339937F}"/>
                </a:ext>
              </a:extLst>
            </p:cNvPr>
            <p:cNvSpPr/>
            <p:nvPr/>
          </p:nvSpPr>
          <p:spPr>
            <a:xfrm>
              <a:off x="7240123" y="2190219"/>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62" name="Straight Arrow Connector 61">
              <a:extLst>
                <a:ext uri="{FF2B5EF4-FFF2-40B4-BE49-F238E27FC236}">
                  <a16:creationId xmlns:a16="http://schemas.microsoft.com/office/drawing/2014/main" id="{7BEC3C28-63D0-3BEA-0315-7E2472467C7D}"/>
                </a:ext>
              </a:extLst>
            </p:cNvPr>
            <p:cNvCxnSpPr>
              <a:cxnSpLocks/>
            </p:cNvCxnSpPr>
            <p:nvPr/>
          </p:nvCxnSpPr>
          <p:spPr>
            <a:xfrm flipH="1">
              <a:off x="10398572" y="2860766"/>
              <a:ext cx="584709" cy="0"/>
            </a:xfrm>
            <a:prstGeom prst="straightConnector1">
              <a:avLst/>
            </a:prstGeom>
            <a:noFill/>
            <a:ln w="19050" cap="flat" cmpd="sng" algn="ctr">
              <a:solidFill>
                <a:srgbClr val="8DC8E8"/>
              </a:solidFill>
              <a:prstDash val="solid"/>
              <a:tailEnd type="triangle"/>
            </a:ln>
            <a:effectLst/>
          </p:spPr>
        </p:cxnSp>
        <p:sp>
          <p:nvSpPr>
            <p:cNvPr id="63" name="TextBox 62">
              <a:extLst>
                <a:ext uri="{FF2B5EF4-FFF2-40B4-BE49-F238E27FC236}">
                  <a16:creationId xmlns:a16="http://schemas.microsoft.com/office/drawing/2014/main" id="{6A2A78CD-8B72-6626-5538-47E5F185BF52}"/>
                </a:ext>
              </a:extLst>
            </p:cNvPr>
            <p:cNvSpPr txBox="1"/>
            <p:nvPr/>
          </p:nvSpPr>
          <p:spPr>
            <a:xfrm>
              <a:off x="10229343" y="2367248"/>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64" name="TextBox 63">
              <a:extLst>
                <a:ext uri="{FF2B5EF4-FFF2-40B4-BE49-F238E27FC236}">
                  <a16:creationId xmlns:a16="http://schemas.microsoft.com/office/drawing/2014/main" id="{4B48D0B0-5437-FC34-A100-2812ADD571E3}"/>
                </a:ext>
              </a:extLst>
            </p:cNvPr>
            <p:cNvSpPr txBox="1"/>
            <p:nvPr/>
          </p:nvSpPr>
          <p:spPr>
            <a:xfrm>
              <a:off x="5023367" y="3122789"/>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sp>
          <p:nvSpPr>
            <p:cNvPr id="65" name="TextBox 64">
              <a:extLst>
                <a:ext uri="{FF2B5EF4-FFF2-40B4-BE49-F238E27FC236}">
                  <a16:creationId xmlns:a16="http://schemas.microsoft.com/office/drawing/2014/main" id="{F876FEE9-AEBB-745C-1DE3-FFF595A95674}"/>
                </a:ext>
              </a:extLst>
            </p:cNvPr>
            <p:cNvSpPr txBox="1"/>
            <p:nvPr/>
          </p:nvSpPr>
          <p:spPr>
            <a:xfrm>
              <a:off x="11431105" y="269453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66" name="Cube 65">
              <a:extLst>
                <a:ext uri="{FF2B5EF4-FFF2-40B4-BE49-F238E27FC236}">
                  <a16:creationId xmlns:a16="http://schemas.microsoft.com/office/drawing/2014/main" id="{986507E7-5BF9-804F-D059-7953CB9D9727}"/>
                </a:ext>
              </a:extLst>
            </p:cNvPr>
            <p:cNvSpPr/>
            <p:nvPr/>
          </p:nvSpPr>
          <p:spPr bwMode="auto">
            <a:xfrm>
              <a:off x="9118414" y="2262645"/>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cxnSp>
          <p:nvCxnSpPr>
            <p:cNvPr id="67" name="Straight Arrow Connector 66">
              <a:extLst>
                <a:ext uri="{FF2B5EF4-FFF2-40B4-BE49-F238E27FC236}">
                  <a16:creationId xmlns:a16="http://schemas.microsoft.com/office/drawing/2014/main" id="{23E019FF-7A33-26CC-7A59-C5AD5496FDD6}"/>
                </a:ext>
              </a:extLst>
            </p:cNvPr>
            <p:cNvCxnSpPr>
              <a:cxnSpLocks/>
            </p:cNvCxnSpPr>
            <p:nvPr/>
          </p:nvCxnSpPr>
          <p:spPr>
            <a:xfrm flipH="1">
              <a:off x="8407048" y="2884711"/>
              <a:ext cx="584709" cy="0"/>
            </a:xfrm>
            <a:prstGeom prst="straightConnector1">
              <a:avLst/>
            </a:prstGeom>
            <a:noFill/>
            <a:ln w="19050" cap="flat" cmpd="sng" algn="ctr">
              <a:solidFill>
                <a:srgbClr val="8DC8E8"/>
              </a:solidFill>
              <a:prstDash val="solid"/>
              <a:tailEnd type="triangle"/>
            </a:ln>
            <a:effectLst/>
          </p:spPr>
        </p:cxnSp>
        <p:sp>
          <p:nvSpPr>
            <p:cNvPr id="68" name="TextBox 67">
              <a:extLst>
                <a:ext uri="{FF2B5EF4-FFF2-40B4-BE49-F238E27FC236}">
                  <a16:creationId xmlns:a16="http://schemas.microsoft.com/office/drawing/2014/main" id="{6854D573-AEDD-E3A4-7A42-8ED0B96C0F11}"/>
                </a:ext>
              </a:extLst>
            </p:cNvPr>
            <p:cNvSpPr txBox="1"/>
            <p:nvPr/>
          </p:nvSpPr>
          <p:spPr>
            <a:xfrm>
              <a:off x="8237819" y="2391193"/>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SQL</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69" name="Arrow: Left 68">
              <a:extLst>
                <a:ext uri="{FF2B5EF4-FFF2-40B4-BE49-F238E27FC236}">
                  <a16:creationId xmlns:a16="http://schemas.microsoft.com/office/drawing/2014/main" id="{3CB611E9-DF1F-CDA1-DEC7-F397B050B26E}"/>
                </a:ext>
              </a:extLst>
            </p:cNvPr>
            <p:cNvSpPr/>
            <p:nvPr/>
          </p:nvSpPr>
          <p:spPr bwMode="auto">
            <a:xfrm>
              <a:off x="6211399" y="2474684"/>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sp>
        <p:nvSpPr>
          <p:cNvPr id="78" name="Title 5">
            <a:extLst>
              <a:ext uri="{FF2B5EF4-FFF2-40B4-BE49-F238E27FC236}">
                <a16:creationId xmlns:a16="http://schemas.microsoft.com/office/drawing/2014/main" id="{A7C87807-EE69-63AC-4269-6C96C9EAB9E7}"/>
              </a:ext>
            </a:extLst>
          </p:cNvPr>
          <p:cNvSpPr txBox="1">
            <a:spLocks/>
          </p:cNvSpPr>
          <p:nvPr/>
        </p:nvSpPr>
        <p:spPr>
          <a:xfrm>
            <a:off x="461723" y="4133304"/>
            <a:ext cx="2664734" cy="43088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a:solidFill>
                  <a:srgbClr val="2A446F"/>
                </a:solidFill>
                <a:latin typeface="Segoe UI Semibold"/>
              </a:rPr>
              <a:t> “Import Mode”</a:t>
            </a:r>
          </a:p>
        </p:txBody>
      </p:sp>
      <p:sp>
        <p:nvSpPr>
          <p:cNvPr id="79" name="Title 5">
            <a:extLst>
              <a:ext uri="{FF2B5EF4-FFF2-40B4-BE49-F238E27FC236}">
                <a16:creationId xmlns:a16="http://schemas.microsoft.com/office/drawing/2014/main" id="{EF805D83-6226-A83B-C4B6-0E673EBE8D38}"/>
              </a:ext>
            </a:extLst>
          </p:cNvPr>
          <p:cNvSpPr txBox="1">
            <a:spLocks/>
          </p:cNvSpPr>
          <p:nvPr/>
        </p:nvSpPr>
        <p:spPr>
          <a:xfrm>
            <a:off x="554187" y="2894044"/>
            <a:ext cx="2479806"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dirty="0">
                <a:solidFill>
                  <a:srgbClr val="FFB900"/>
                </a:solidFill>
                <a:latin typeface="Segoe UI Semibold"/>
              </a:rPr>
              <a:t>Slow, but real time</a:t>
            </a:r>
          </a:p>
        </p:txBody>
      </p:sp>
      <p:sp>
        <p:nvSpPr>
          <p:cNvPr id="80" name="Title 5">
            <a:extLst>
              <a:ext uri="{FF2B5EF4-FFF2-40B4-BE49-F238E27FC236}">
                <a16:creationId xmlns:a16="http://schemas.microsoft.com/office/drawing/2014/main" id="{235CB607-873E-975B-3D1E-DAEAE0561DF9}"/>
              </a:ext>
            </a:extLst>
          </p:cNvPr>
          <p:cNvSpPr txBox="1">
            <a:spLocks/>
          </p:cNvSpPr>
          <p:nvPr/>
        </p:nvSpPr>
        <p:spPr>
          <a:xfrm>
            <a:off x="148463" y="4758949"/>
            <a:ext cx="3291254"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a:solidFill>
                  <a:srgbClr val="FFB900"/>
                </a:solidFill>
                <a:latin typeface="Segoe UI Semibold"/>
              </a:rPr>
              <a:t>Latent &amp; duplicative but fast</a:t>
            </a:r>
          </a:p>
        </p:txBody>
      </p:sp>
      <p:grpSp>
        <p:nvGrpSpPr>
          <p:cNvPr id="81" name="Group 80">
            <a:extLst>
              <a:ext uri="{FF2B5EF4-FFF2-40B4-BE49-F238E27FC236}">
                <a16:creationId xmlns:a16="http://schemas.microsoft.com/office/drawing/2014/main" id="{0C70D4C1-3A06-534A-410E-CAAB40787104}"/>
              </a:ext>
            </a:extLst>
          </p:cNvPr>
          <p:cNvGrpSpPr/>
          <p:nvPr/>
        </p:nvGrpSpPr>
        <p:grpSpPr>
          <a:xfrm>
            <a:off x="4004588" y="4103782"/>
            <a:ext cx="8000312" cy="1760558"/>
            <a:chOff x="4245888" y="4103782"/>
            <a:chExt cx="8000312" cy="1760558"/>
          </a:xfrm>
        </p:grpSpPr>
        <p:sp>
          <p:nvSpPr>
            <p:cNvPr id="82" name="Rectangle: Rounded Corners 8">
              <a:extLst>
                <a:ext uri="{FF2B5EF4-FFF2-40B4-BE49-F238E27FC236}">
                  <a16:creationId xmlns:a16="http://schemas.microsoft.com/office/drawing/2014/main" id="{D5C6CBA8-853B-2AEA-8444-86E4AC415B74}"/>
                </a:ext>
              </a:extLst>
            </p:cNvPr>
            <p:cNvSpPr/>
            <p:nvPr/>
          </p:nvSpPr>
          <p:spPr>
            <a:xfrm>
              <a:off x="4245888" y="4103782"/>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83" name="TextBox 82">
              <a:extLst>
                <a:ext uri="{FF2B5EF4-FFF2-40B4-BE49-F238E27FC236}">
                  <a16:creationId xmlns:a16="http://schemas.microsoft.com/office/drawing/2014/main" id="{A312728A-31DE-7CF0-7A46-E170E0E33B52}"/>
                </a:ext>
              </a:extLst>
            </p:cNvPr>
            <p:cNvSpPr txBox="1"/>
            <p:nvPr/>
          </p:nvSpPr>
          <p:spPr>
            <a:xfrm>
              <a:off x="4767752" y="4179210"/>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84" name="Group 83">
              <a:extLst>
                <a:ext uri="{FF2B5EF4-FFF2-40B4-BE49-F238E27FC236}">
                  <a16:creationId xmlns:a16="http://schemas.microsoft.com/office/drawing/2014/main" id="{F288E2E8-13E2-2202-5DB8-8E20782DC8FE}"/>
                </a:ext>
              </a:extLst>
            </p:cNvPr>
            <p:cNvGrpSpPr/>
            <p:nvPr/>
          </p:nvGrpSpPr>
          <p:grpSpPr>
            <a:xfrm>
              <a:off x="10991086" y="4543126"/>
              <a:ext cx="788960" cy="762435"/>
              <a:chOff x="10786033" y="2312508"/>
              <a:chExt cx="867856" cy="838678"/>
            </a:xfrm>
          </p:grpSpPr>
          <p:sp>
            <p:nvSpPr>
              <p:cNvPr id="101" name="Oval 100">
                <a:extLst>
                  <a:ext uri="{FF2B5EF4-FFF2-40B4-BE49-F238E27FC236}">
                    <a16:creationId xmlns:a16="http://schemas.microsoft.com/office/drawing/2014/main" id="{F9586119-8049-0F45-51FA-1E09766EAAA1}"/>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102" name="Graphic 52">
                <a:extLst>
                  <a:ext uri="{FF2B5EF4-FFF2-40B4-BE49-F238E27FC236}">
                    <a16:creationId xmlns:a16="http://schemas.microsoft.com/office/drawing/2014/main" id="{D104EAA1-287A-01F0-5BB0-CDFE634B9448}"/>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103" name="Freeform 65">
                  <a:extLst>
                    <a:ext uri="{FF2B5EF4-FFF2-40B4-BE49-F238E27FC236}">
                      <a16:creationId xmlns:a16="http://schemas.microsoft.com/office/drawing/2014/main" id="{F408B1C6-7C2B-40C0-2741-33482A1401ED}"/>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04" name="Freeform 66">
                  <a:extLst>
                    <a:ext uri="{FF2B5EF4-FFF2-40B4-BE49-F238E27FC236}">
                      <a16:creationId xmlns:a16="http://schemas.microsoft.com/office/drawing/2014/main" id="{B67B0556-1E37-8A79-0546-4D196B220FB7}"/>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05" name="Freeform 67">
                  <a:extLst>
                    <a:ext uri="{FF2B5EF4-FFF2-40B4-BE49-F238E27FC236}">
                      <a16:creationId xmlns:a16="http://schemas.microsoft.com/office/drawing/2014/main" id="{62C2CE87-4A26-C8DA-AFB8-674DDE2FE5C2}"/>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85" name="Cylinder 32">
              <a:extLst>
                <a:ext uri="{FF2B5EF4-FFF2-40B4-BE49-F238E27FC236}">
                  <a16:creationId xmlns:a16="http://schemas.microsoft.com/office/drawing/2014/main" id="{D103C01E-625A-EC72-38EC-22811983EAEA}"/>
                </a:ext>
              </a:extLst>
            </p:cNvPr>
            <p:cNvSpPr/>
            <p:nvPr/>
          </p:nvSpPr>
          <p:spPr>
            <a:xfrm>
              <a:off x="7240123" y="4222200"/>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86" name="Straight Arrow Connector 85">
              <a:extLst>
                <a:ext uri="{FF2B5EF4-FFF2-40B4-BE49-F238E27FC236}">
                  <a16:creationId xmlns:a16="http://schemas.microsoft.com/office/drawing/2014/main" id="{D7CAA5BF-634C-6CF1-4721-DE569CF2FBA6}"/>
                </a:ext>
              </a:extLst>
            </p:cNvPr>
            <p:cNvCxnSpPr>
              <a:cxnSpLocks/>
            </p:cNvCxnSpPr>
            <p:nvPr/>
          </p:nvCxnSpPr>
          <p:spPr>
            <a:xfrm flipH="1">
              <a:off x="10398572" y="4892747"/>
              <a:ext cx="584709" cy="0"/>
            </a:xfrm>
            <a:prstGeom prst="straightConnector1">
              <a:avLst/>
            </a:prstGeom>
            <a:noFill/>
            <a:ln w="19050" cap="flat" cmpd="sng" algn="ctr">
              <a:solidFill>
                <a:srgbClr val="8DC8E8"/>
              </a:solidFill>
              <a:prstDash val="solid"/>
              <a:tailEnd type="triangle"/>
            </a:ln>
            <a:effectLst/>
          </p:spPr>
        </p:cxnSp>
        <p:sp>
          <p:nvSpPr>
            <p:cNvPr id="87" name="TextBox 86">
              <a:extLst>
                <a:ext uri="{FF2B5EF4-FFF2-40B4-BE49-F238E27FC236}">
                  <a16:creationId xmlns:a16="http://schemas.microsoft.com/office/drawing/2014/main" id="{2C6314E7-81B8-CCE5-5AB9-F0760041F32E}"/>
                </a:ext>
              </a:extLst>
            </p:cNvPr>
            <p:cNvSpPr txBox="1"/>
            <p:nvPr/>
          </p:nvSpPr>
          <p:spPr>
            <a:xfrm>
              <a:off x="10229343" y="4399229"/>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88" name="TextBox 87">
              <a:extLst>
                <a:ext uri="{FF2B5EF4-FFF2-40B4-BE49-F238E27FC236}">
                  <a16:creationId xmlns:a16="http://schemas.microsoft.com/office/drawing/2014/main" id="{26ED3DA3-5761-AAAD-1A71-6AE9389E1EF5}"/>
                </a:ext>
              </a:extLst>
            </p:cNvPr>
            <p:cNvSpPr txBox="1"/>
            <p:nvPr/>
          </p:nvSpPr>
          <p:spPr>
            <a:xfrm>
              <a:off x="11431105" y="471977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89" name="Cube 88">
              <a:extLst>
                <a:ext uri="{FF2B5EF4-FFF2-40B4-BE49-F238E27FC236}">
                  <a16:creationId xmlns:a16="http://schemas.microsoft.com/office/drawing/2014/main" id="{FE879F39-A404-71EF-E40F-301A3CD9B416}"/>
                </a:ext>
              </a:extLst>
            </p:cNvPr>
            <p:cNvSpPr/>
            <p:nvPr/>
          </p:nvSpPr>
          <p:spPr bwMode="auto">
            <a:xfrm>
              <a:off x="9118414" y="4294626"/>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sp>
          <p:nvSpPr>
            <p:cNvPr id="90" name="Arrow: Left 89">
              <a:extLst>
                <a:ext uri="{FF2B5EF4-FFF2-40B4-BE49-F238E27FC236}">
                  <a16:creationId xmlns:a16="http://schemas.microsoft.com/office/drawing/2014/main" id="{F1D97922-3C3E-2E53-7485-27E79855F7B7}"/>
                </a:ext>
              </a:extLst>
            </p:cNvPr>
            <p:cNvSpPr/>
            <p:nvPr/>
          </p:nvSpPr>
          <p:spPr bwMode="auto">
            <a:xfrm>
              <a:off x="6211399" y="4506665"/>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nvGrpSpPr>
            <p:cNvPr id="91" name="Group 90">
              <a:extLst>
                <a:ext uri="{FF2B5EF4-FFF2-40B4-BE49-F238E27FC236}">
                  <a16:creationId xmlns:a16="http://schemas.microsoft.com/office/drawing/2014/main" id="{78A93B69-9F2C-4B5A-49E9-649DB96E9B2C}"/>
                </a:ext>
              </a:extLst>
            </p:cNvPr>
            <p:cNvGrpSpPr/>
            <p:nvPr/>
          </p:nvGrpSpPr>
          <p:grpSpPr>
            <a:xfrm>
              <a:off x="9179318" y="5260717"/>
              <a:ext cx="681610" cy="603623"/>
              <a:chOff x="7194268" y="2345168"/>
              <a:chExt cx="681610" cy="603623"/>
            </a:xfrm>
            <a:solidFill>
              <a:srgbClr val="FF0000"/>
            </a:solidFill>
          </p:grpSpPr>
          <p:sp>
            <p:nvSpPr>
              <p:cNvPr id="98" name="Flowchart: Multidocument 24">
                <a:extLst>
                  <a:ext uri="{FF2B5EF4-FFF2-40B4-BE49-F238E27FC236}">
                    <a16:creationId xmlns:a16="http://schemas.microsoft.com/office/drawing/2014/main" id="{A7367AE9-012D-D190-ADF8-71D2594ECE0E}"/>
                  </a:ext>
                </a:extLst>
              </p:cNvPr>
              <p:cNvSpPr/>
              <p:nvPr/>
            </p:nvSpPr>
            <p:spPr>
              <a:xfrm>
                <a:off x="7194268" y="2345168"/>
                <a:ext cx="681610" cy="603623"/>
              </a:xfrm>
              <a:prstGeom prst="flowChartMultidocument">
                <a:avLst/>
              </a:prstGeom>
              <a:grp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A446F"/>
                  </a:solidFill>
                  <a:effectLst/>
                  <a:uLnTx/>
                  <a:uFillTx/>
                  <a:latin typeface="Segoe UI"/>
                  <a:ea typeface="+mn-ea"/>
                  <a:cs typeface="+mn-cs"/>
                </a:endParaRPr>
              </a:p>
            </p:txBody>
          </p:sp>
          <p:sp>
            <p:nvSpPr>
              <p:cNvPr id="99" name="TextBox 98">
                <a:extLst>
                  <a:ext uri="{FF2B5EF4-FFF2-40B4-BE49-F238E27FC236}">
                    <a16:creationId xmlns:a16="http://schemas.microsoft.com/office/drawing/2014/main" id="{6E9E5F57-CD66-47DE-D332-28AA665AEE70}"/>
                  </a:ext>
                </a:extLst>
              </p:cNvPr>
              <p:cNvSpPr txBox="1"/>
              <p:nvPr/>
            </p:nvSpPr>
            <p:spPr>
              <a:xfrm>
                <a:off x="7407345" y="2545153"/>
                <a:ext cx="184731" cy="2308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00" name="TextBox 99">
                <a:extLst>
                  <a:ext uri="{FF2B5EF4-FFF2-40B4-BE49-F238E27FC236}">
                    <a16:creationId xmlns:a16="http://schemas.microsoft.com/office/drawing/2014/main" id="{C2B121D8-8E50-49F4-C559-6216B3BCDFB0}"/>
                  </a:ext>
                </a:extLst>
              </p:cNvPr>
              <p:cNvSpPr txBox="1"/>
              <p:nvPr/>
            </p:nvSpPr>
            <p:spPr>
              <a:xfrm>
                <a:off x="7194268" y="2462313"/>
                <a:ext cx="627095" cy="3693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Copy of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92" name="Arrow: Right 91">
              <a:extLst>
                <a:ext uri="{FF2B5EF4-FFF2-40B4-BE49-F238E27FC236}">
                  <a16:creationId xmlns:a16="http://schemas.microsoft.com/office/drawing/2014/main" id="{0A8AAE4D-6259-99FF-AB00-57BA12A9042B}"/>
                </a:ext>
              </a:extLst>
            </p:cNvPr>
            <p:cNvSpPr/>
            <p:nvPr/>
          </p:nvSpPr>
          <p:spPr bwMode="auto">
            <a:xfrm>
              <a:off x="8284508" y="4524495"/>
              <a:ext cx="775516" cy="686115"/>
            </a:xfrm>
            <a:prstGeom prst="rightArrow">
              <a:avLst>
                <a:gd name="adj1" fmla="val 50000"/>
                <a:gd name="adj2" fmla="val 48029"/>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Import</a:t>
              </a:r>
            </a:p>
          </p:txBody>
        </p:sp>
        <p:grpSp>
          <p:nvGrpSpPr>
            <p:cNvPr id="93" name="Group 92">
              <a:extLst>
                <a:ext uri="{FF2B5EF4-FFF2-40B4-BE49-F238E27FC236}">
                  <a16:creationId xmlns:a16="http://schemas.microsoft.com/office/drawing/2014/main" id="{B72BF8C2-3EC0-7F94-B391-2DCFF5BAE3BB}"/>
                </a:ext>
              </a:extLst>
            </p:cNvPr>
            <p:cNvGrpSpPr/>
            <p:nvPr/>
          </p:nvGrpSpPr>
          <p:grpSpPr>
            <a:xfrm>
              <a:off x="5109697" y="4462348"/>
              <a:ext cx="681610" cy="603623"/>
              <a:chOff x="7194268" y="2345168"/>
              <a:chExt cx="681610" cy="603623"/>
            </a:xfrm>
          </p:grpSpPr>
          <p:sp>
            <p:nvSpPr>
              <p:cNvPr id="95" name="Flowchart: Multidocument 24">
                <a:extLst>
                  <a:ext uri="{FF2B5EF4-FFF2-40B4-BE49-F238E27FC236}">
                    <a16:creationId xmlns:a16="http://schemas.microsoft.com/office/drawing/2014/main" id="{02D9E2AA-C437-9137-98CF-2E6ECBB48652}"/>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DD12372-B114-3AF8-B580-2211CA26F9FD}"/>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97" name="TextBox 96">
                <a:extLst>
                  <a:ext uri="{FF2B5EF4-FFF2-40B4-BE49-F238E27FC236}">
                    <a16:creationId xmlns:a16="http://schemas.microsoft.com/office/drawing/2014/main" id="{590182E0-A063-469B-78CF-9B90CB3A8D8A}"/>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94" name="TextBox 93">
              <a:extLst>
                <a:ext uri="{FF2B5EF4-FFF2-40B4-BE49-F238E27FC236}">
                  <a16:creationId xmlns:a16="http://schemas.microsoft.com/office/drawing/2014/main" id="{7BBE765B-BAB7-EB0A-A03F-3C057BB49DDD}"/>
                </a:ext>
              </a:extLst>
            </p:cNvPr>
            <p:cNvSpPr txBox="1"/>
            <p:nvPr/>
          </p:nvSpPr>
          <p:spPr>
            <a:xfrm>
              <a:off x="5034428" y="5151672"/>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grpSp>
    </p:spTree>
    <p:extLst>
      <p:ext uri="{BB962C8B-B14F-4D97-AF65-F5344CB8AC3E}">
        <p14:creationId xmlns:p14="http://schemas.microsoft.com/office/powerpoint/2010/main" val="45176468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5">
            <a:extLst>
              <a:ext uri="{FF2B5EF4-FFF2-40B4-BE49-F238E27FC236}">
                <a16:creationId xmlns:a16="http://schemas.microsoft.com/office/drawing/2014/main" id="{4754B43B-1544-4A8E-BB4B-74591B136E90}"/>
              </a:ext>
            </a:extLst>
          </p:cNvPr>
          <p:cNvSpPr txBox="1">
            <a:spLocks/>
          </p:cNvSpPr>
          <p:nvPr/>
        </p:nvSpPr>
        <p:spPr>
          <a:xfrm>
            <a:off x="366171" y="891538"/>
            <a:ext cx="3338438" cy="369332"/>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rgbClr val="117865"/>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nl-BE" sz="2400" b="0" i="0" u="none" strike="noStrike" kern="1200" cap="none" spc="-50" normalizeH="0" baseline="0" noProof="0">
                <a:ln w="3175">
                  <a:noFill/>
                </a:ln>
                <a:solidFill>
                  <a:srgbClr val="FFFFFF">
                    <a:lumMod val="50000"/>
                  </a:srgbClr>
                </a:solidFill>
                <a:effectLst/>
                <a:uLnTx/>
                <a:uFillTx/>
                <a:latin typeface="Segoe UI Semibold"/>
                <a:ea typeface="+mn-ea"/>
                <a:cs typeface="Segoe UI" pitchFamily="34" charset="0"/>
              </a:rPr>
              <a:t>“Direct Query Mode”</a:t>
            </a:r>
          </a:p>
        </p:txBody>
      </p:sp>
      <p:grpSp>
        <p:nvGrpSpPr>
          <p:cNvPr id="77" name="Group 76">
            <a:extLst>
              <a:ext uri="{FF2B5EF4-FFF2-40B4-BE49-F238E27FC236}">
                <a16:creationId xmlns:a16="http://schemas.microsoft.com/office/drawing/2014/main" id="{B2387CD4-BC9C-8C61-35F8-6EB5F5F70BF8}"/>
              </a:ext>
            </a:extLst>
          </p:cNvPr>
          <p:cNvGrpSpPr/>
          <p:nvPr/>
        </p:nvGrpSpPr>
        <p:grpSpPr>
          <a:xfrm>
            <a:off x="4245888" y="754555"/>
            <a:ext cx="8000312" cy="1358765"/>
            <a:chOff x="4245888" y="2071801"/>
            <a:chExt cx="8000312" cy="1358765"/>
          </a:xfrm>
        </p:grpSpPr>
        <p:sp>
          <p:nvSpPr>
            <p:cNvPr id="78" name="Rectangle: Rounded Corners 8">
              <a:extLst>
                <a:ext uri="{FF2B5EF4-FFF2-40B4-BE49-F238E27FC236}">
                  <a16:creationId xmlns:a16="http://schemas.microsoft.com/office/drawing/2014/main" id="{3FF276CE-F8F7-369B-372C-33D1229BD00D}"/>
                </a:ext>
              </a:extLst>
            </p:cNvPr>
            <p:cNvSpPr/>
            <p:nvPr/>
          </p:nvSpPr>
          <p:spPr>
            <a:xfrm>
              <a:off x="4245888" y="2071801"/>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79" name="TextBox 78">
              <a:extLst>
                <a:ext uri="{FF2B5EF4-FFF2-40B4-BE49-F238E27FC236}">
                  <a16:creationId xmlns:a16="http://schemas.microsoft.com/office/drawing/2014/main" id="{07131B02-6F30-134F-0B1D-03E5CC9E93D9}"/>
                </a:ext>
              </a:extLst>
            </p:cNvPr>
            <p:cNvSpPr txBox="1"/>
            <p:nvPr/>
          </p:nvSpPr>
          <p:spPr>
            <a:xfrm>
              <a:off x="4767752" y="2147229"/>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80" name="Group 79">
              <a:extLst>
                <a:ext uri="{FF2B5EF4-FFF2-40B4-BE49-F238E27FC236}">
                  <a16:creationId xmlns:a16="http://schemas.microsoft.com/office/drawing/2014/main" id="{EDBF4ACB-B37F-BB4C-9271-6B311A8DFB72}"/>
                </a:ext>
              </a:extLst>
            </p:cNvPr>
            <p:cNvGrpSpPr/>
            <p:nvPr/>
          </p:nvGrpSpPr>
          <p:grpSpPr>
            <a:xfrm>
              <a:off x="5109697" y="2453894"/>
              <a:ext cx="681610" cy="603623"/>
              <a:chOff x="7194268" y="2345168"/>
              <a:chExt cx="681610" cy="603623"/>
            </a:xfrm>
          </p:grpSpPr>
          <p:sp>
            <p:nvSpPr>
              <p:cNvPr id="96" name="Flowchart: Multidocument 24">
                <a:extLst>
                  <a:ext uri="{FF2B5EF4-FFF2-40B4-BE49-F238E27FC236}">
                    <a16:creationId xmlns:a16="http://schemas.microsoft.com/office/drawing/2014/main" id="{3871791A-83F1-3D4A-FA11-EE8C664A0789}"/>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97" name="TextBox 96">
                <a:extLst>
                  <a:ext uri="{FF2B5EF4-FFF2-40B4-BE49-F238E27FC236}">
                    <a16:creationId xmlns:a16="http://schemas.microsoft.com/office/drawing/2014/main" id="{D1579365-DC95-3890-A4E5-607028636A22}"/>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98" name="TextBox 97">
                <a:extLst>
                  <a:ext uri="{FF2B5EF4-FFF2-40B4-BE49-F238E27FC236}">
                    <a16:creationId xmlns:a16="http://schemas.microsoft.com/office/drawing/2014/main" id="{7DED1EE1-EF16-5D5D-35C6-687D0F073569}"/>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grpSp>
          <p:nvGrpSpPr>
            <p:cNvPr id="81" name="Group 80">
              <a:extLst>
                <a:ext uri="{FF2B5EF4-FFF2-40B4-BE49-F238E27FC236}">
                  <a16:creationId xmlns:a16="http://schemas.microsoft.com/office/drawing/2014/main" id="{0F0F1A0A-2C88-2B26-88CF-47F7FA4F877C}"/>
                </a:ext>
              </a:extLst>
            </p:cNvPr>
            <p:cNvGrpSpPr/>
            <p:nvPr/>
          </p:nvGrpSpPr>
          <p:grpSpPr>
            <a:xfrm>
              <a:off x="10991086" y="2511145"/>
              <a:ext cx="788960" cy="762435"/>
              <a:chOff x="10786033" y="2312508"/>
              <a:chExt cx="867856" cy="838678"/>
            </a:xfrm>
          </p:grpSpPr>
          <p:sp>
            <p:nvSpPr>
              <p:cNvPr id="91" name="Oval 90">
                <a:extLst>
                  <a:ext uri="{FF2B5EF4-FFF2-40B4-BE49-F238E27FC236}">
                    <a16:creationId xmlns:a16="http://schemas.microsoft.com/office/drawing/2014/main" id="{6B32AA64-64CD-3CFA-D794-535E2CE14AC5}"/>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92" name="Graphic 52">
                <a:extLst>
                  <a:ext uri="{FF2B5EF4-FFF2-40B4-BE49-F238E27FC236}">
                    <a16:creationId xmlns:a16="http://schemas.microsoft.com/office/drawing/2014/main" id="{459D069C-29A6-9FD7-4C08-918E08F25B1C}"/>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93" name="Freeform 65">
                  <a:extLst>
                    <a:ext uri="{FF2B5EF4-FFF2-40B4-BE49-F238E27FC236}">
                      <a16:creationId xmlns:a16="http://schemas.microsoft.com/office/drawing/2014/main" id="{939AB72E-F109-734F-DE82-595C8A49C456}"/>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94" name="Freeform 66">
                  <a:extLst>
                    <a:ext uri="{FF2B5EF4-FFF2-40B4-BE49-F238E27FC236}">
                      <a16:creationId xmlns:a16="http://schemas.microsoft.com/office/drawing/2014/main" id="{986F304B-A1D0-3387-A75D-789CDE824CF2}"/>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95" name="Freeform 67">
                  <a:extLst>
                    <a:ext uri="{FF2B5EF4-FFF2-40B4-BE49-F238E27FC236}">
                      <a16:creationId xmlns:a16="http://schemas.microsoft.com/office/drawing/2014/main" id="{F0117437-B7A4-A4EF-7322-2E16B54E958B}"/>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82" name="Cylinder 32">
              <a:extLst>
                <a:ext uri="{FF2B5EF4-FFF2-40B4-BE49-F238E27FC236}">
                  <a16:creationId xmlns:a16="http://schemas.microsoft.com/office/drawing/2014/main" id="{A581A58B-DCA5-E10C-36F9-42A0DC349EF8}"/>
                </a:ext>
              </a:extLst>
            </p:cNvPr>
            <p:cNvSpPr/>
            <p:nvPr/>
          </p:nvSpPr>
          <p:spPr>
            <a:xfrm>
              <a:off x="7240123" y="2190219"/>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83" name="Straight Arrow Connector 82">
              <a:extLst>
                <a:ext uri="{FF2B5EF4-FFF2-40B4-BE49-F238E27FC236}">
                  <a16:creationId xmlns:a16="http://schemas.microsoft.com/office/drawing/2014/main" id="{6F0F4C3E-4572-8DE1-B667-13E0686091E5}"/>
                </a:ext>
              </a:extLst>
            </p:cNvPr>
            <p:cNvCxnSpPr>
              <a:cxnSpLocks/>
            </p:cNvCxnSpPr>
            <p:nvPr/>
          </p:nvCxnSpPr>
          <p:spPr>
            <a:xfrm flipH="1">
              <a:off x="10398572" y="2860766"/>
              <a:ext cx="584709" cy="0"/>
            </a:xfrm>
            <a:prstGeom prst="straightConnector1">
              <a:avLst/>
            </a:prstGeom>
            <a:noFill/>
            <a:ln w="19050" cap="flat" cmpd="sng" algn="ctr">
              <a:solidFill>
                <a:srgbClr val="8DC8E8"/>
              </a:solidFill>
              <a:prstDash val="solid"/>
              <a:tailEnd type="triangle"/>
            </a:ln>
            <a:effectLst/>
          </p:spPr>
        </p:cxnSp>
        <p:sp>
          <p:nvSpPr>
            <p:cNvPr id="84" name="TextBox 83">
              <a:extLst>
                <a:ext uri="{FF2B5EF4-FFF2-40B4-BE49-F238E27FC236}">
                  <a16:creationId xmlns:a16="http://schemas.microsoft.com/office/drawing/2014/main" id="{28863B32-403E-F6C8-8CA7-6F7819DFCB48}"/>
                </a:ext>
              </a:extLst>
            </p:cNvPr>
            <p:cNvSpPr txBox="1"/>
            <p:nvPr/>
          </p:nvSpPr>
          <p:spPr>
            <a:xfrm>
              <a:off x="10229343" y="2367248"/>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85" name="TextBox 84">
              <a:extLst>
                <a:ext uri="{FF2B5EF4-FFF2-40B4-BE49-F238E27FC236}">
                  <a16:creationId xmlns:a16="http://schemas.microsoft.com/office/drawing/2014/main" id="{CEF5018B-A6FA-00CB-6624-8DE518A65F8D}"/>
                </a:ext>
              </a:extLst>
            </p:cNvPr>
            <p:cNvSpPr txBox="1"/>
            <p:nvPr/>
          </p:nvSpPr>
          <p:spPr>
            <a:xfrm>
              <a:off x="5023367" y="3122789"/>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sp>
          <p:nvSpPr>
            <p:cNvPr id="86" name="TextBox 85">
              <a:extLst>
                <a:ext uri="{FF2B5EF4-FFF2-40B4-BE49-F238E27FC236}">
                  <a16:creationId xmlns:a16="http://schemas.microsoft.com/office/drawing/2014/main" id="{A0013AC1-8E31-0A6D-3A9B-D9B174234384}"/>
                </a:ext>
              </a:extLst>
            </p:cNvPr>
            <p:cNvSpPr txBox="1"/>
            <p:nvPr/>
          </p:nvSpPr>
          <p:spPr>
            <a:xfrm>
              <a:off x="11431105" y="269453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87" name="Cube 86">
              <a:extLst>
                <a:ext uri="{FF2B5EF4-FFF2-40B4-BE49-F238E27FC236}">
                  <a16:creationId xmlns:a16="http://schemas.microsoft.com/office/drawing/2014/main" id="{D6A05794-9C1B-9431-439F-910222E0C30B}"/>
                </a:ext>
              </a:extLst>
            </p:cNvPr>
            <p:cNvSpPr/>
            <p:nvPr/>
          </p:nvSpPr>
          <p:spPr bwMode="auto">
            <a:xfrm>
              <a:off x="9118414" y="2262645"/>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cxnSp>
          <p:nvCxnSpPr>
            <p:cNvPr id="88" name="Straight Arrow Connector 87">
              <a:extLst>
                <a:ext uri="{FF2B5EF4-FFF2-40B4-BE49-F238E27FC236}">
                  <a16:creationId xmlns:a16="http://schemas.microsoft.com/office/drawing/2014/main" id="{81AEFFB5-13CF-F081-3FF6-40CAFB467656}"/>
                </a:ext>
              </a:extLst>
            </p:cNvPr>
            <p:cNvCxnSpPr>
              <a:cxnSpLocks/>
            </p:cNvCxnSpPr>
            <p:nvPr/>
          </p:nvCxnSpPr>
          <p:spPr>
            <a:xfrm flipH="1">
              <a:off x="8407048" y="2884711"/>
              <a:ext cx="584709" cy="0"/>
            </a:xfrm>
            <a:prstGeom prst="straightConnector1">
              <a:avLst/>
            </a:prstGeom>
            <a:noFill/>
            <a:ln w="19050" cap="flat" cmpd="sng" algn="ctr">
              <a:solidFill>
                <a:srgbClr val="8DC8E8"/>
              </a:solidFill>
              <a:prstDash val="solid"/>
              <a:tailEnd type="triangle"/>
            </a:ln>
            <a:effectLst/>
          </p:spPr>
        </p:cxnSp>
        <p:sp>
          <p:nvSpPr>
            <p:cNvPr id="89" name="TextBox 88">
              <a:extLst>
                <a:ext uri="{FF2B5EF4-FFF2-40B4-BE49-F238E27FC236}">
                  <a16:creationId xmlns:a16="http://schemas.microsoft.com/office/drawing/2014/main" id="{4C5A4DB5-D14E-468A-4A81-D8F8D2794F4F}"/>
                </a:ext>
              </a:extLst>
            </p:cNvPr>
            <p:cNvSpPr txBox="1"/>
            <p:nvPr/>
          </p:nvSpPr>
          <p:spPr>
            <a:xfrm>
              <a:off x="8237819" y="2391193"/>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SQL</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90" name="Arrow: Left 89">
              <a:extLst>
                <a:ext uri="{FF2B5EF4-FFF2-40B4-BE49-F238E27FC236}">
                  <a16:creationId xmlns:a16="http://schemas.microsoft.com/office/drawing/2014/main" id="{E56312B6-2285-4708-9567-33765D840ED5}"/>
                </a:ext>
              </a:extLst>
            </p:cNvPr>
            <p:cNvSpPr/>
            <p:nvPr/>
          </p:nvSpPr>
          <p:spPr bwMode="auto">
            <a:xfrm>
              <a:off x="6211399" y="2474684"/>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sp>
        <p:nvSpPr>
          <p:cNvPr id="99" name="Title 5">
            <a:extLst>
              <a:ext uri="{FF2B5EF4-FFF2-40B4-BE49-F238E27FC236}">
                <a16:creationId xmlns:a16="http://schemas.microsoft.com/office/drawing/2014/main" id="{E5206689-A59D-D2D8-80D6-C63A50EE95CD}"/>
              </a:ext>
            </a:extLst>
          </p:cNvPr>
          <p:cNvSpPr txBox="1">
            <a:spLocks/>
          </p:cNvSpPr>
          <p:nvPr/>
        </p:nvSpPr>
        <p:spPr>
          <a:xfrm>
            <a:off x="703023" y="2666599"/>
            <a:ext cx="2664734" cy="369332"/>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400">
                <a:solidFill>
                  <a:srgbClr val="FFFFFF">
                    <a:lumMod val="50000"/>
                  </a:srgbClr>
                </a:solidFill>
                <a:latin typeface="Segoe UI Semibold"/>
              </a:rPr>
              <a:t> “Import Mode”</a:t>
            </a:r>
          </a:p>
        </p:txBody>
      </p:sp>
      <p:sp>
        <p:nvSpPr>
          <p:cNvPr id="100" name="Title 5">
            <a:extLst>
              <a:ext uri="{FF2B5EF4-FFF2-40B4-BE49-F238E27FC236}">
                <a16:creationId xmlns:a16="http://schemas.microsoft.com/office/drawing/2014/main" id="{CEA5556A-58F6-E60F-94D3-9410AE845ECC}"/>
              </a:ext>
            </a:extLst>
          </p:cNvPr>
          <p:cNvSpPr txBox="1">
            <a:spLocks/>
          </p:cNvSpPr>
          <p:nvPr/>
        </p:nvSpPr>
        <p:spPr>
          <a:xfrm>
            <a:off x="795487" y="1576798"/>
            <a:ext cx="2479806"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a:solidFill>
                  <a:srgbClr val="FFB900"/>
                </a:solidFill>
                <a:latin typeface="Segoe UI Semibold"/>
              </a:rPr>
              <a:t>Slow, but real time</a:t>
            </a:r>
          </a:p>
        </p:txBody>
      </p:sp>
      <p:sp>
        <p:nvSpPr>
          <p:cNvPr id="101" name="Title 5">
            <a:extLst>
              <a:ext uri="{FF2B5EF4-FFF2-40B4-BE49-F238E27FC236}">
                <a16:creationId xmlns:a16="http://schemas.microsoft.com/office/drawing/2014/main" id="{60D64553-7D52-BDA6-4F37-A7E8392D90CA}"/>
              </a:ext>
            </a:extLst>
          </p:cNvPr>
          <p:cNvSpPr txBox="1">
            <a:spLocks/>
          </p:cNvSpPr>
          <p:nvPr/>
        </p:nvSpPr>
        <p:spPr>
          <a:xfrm>
            <a:off x="389763" y="3230689"/>
            <a:ext cx="3291254" cy="307777"/>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000">
                <a:solidFill>
                  <a:srgbClr val="FFB900"/>
                </a:solidFill>
                <a:latin typeface="Segoe UI Semibold"/>
              </a:rPr>
              <a:t>Latent &amp; duplicative but fast</a:t>
            </a:r>
          </a:p>
        </p:txBody>
      </p:sp>
      <p:grpSp>
        <p:nvGrpSpPr>
          <p:cNvPr id="102" name="Group 101">
            <a:extLst>
              <a:ext uri="{FF2B5EF4-FFF2-40B4-BE49-F238E27FC236}">
                <a16:creationId xmlns:a16="http://schemas.microsoft.com/office/drawing/2014/main" id="{C3246FA3-D4B9-6917-4C7D-4585237C6845}"/>
              </a:ext>
            </a:extLst>
          </p:cNvPr>
          <p:cNvGrpSpPr/>
          <p:nvPr/>
        </p:nvGrpSpPr>
        <p:grpSpPr>
          <a:xfrm>
            <a:off x="4245888" y="2575522"/>
            <a:ext cx="8000312" cy="1760558"/>
            <a:chOff x="4245888" y="4103782"/>
            <a:chExt cx="8000312" cy="1760558"/>
          </a:xfrm>
        </p:grpSpPr>
        <p:sp>
          <p:nvSpPr>
            <p:cNvPr id="103" name="Rectangle: Rounded Corners 8">
              <a:extLst>
                <a:ext uri="{FF2B5EF4-FFF2-40B4-BE49-F238E27FC236}">
                  <a16:creationId xmlns:a16="http://schemas.microsoft.com/office/drawing/2014/main" id="{94306DFD-79DC-9BDE-F87A-37389CE59107}"/>
                </a:ext>
              </a:extLst>
            </p:cNvPr>
            <p:cNvSpPr/>
            <p:nvPr/>
          </p:nvSpPr>
          <p:spPr>
            <a:xfrm>
              <a:off x="4245888" y="4103782"/>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04" name="TextBox 103">
              <a:extLst>
                <a:ext uri="{FF2B5EF4-FFF2-40B4-BE49-F238E27FC236}">
                  <a16:creationId xmlns:a16="http://schemas.microsoft.com/office/drawing/2014/main" id="{6CD053B0-3188-3D64-D987-A59671207E19}"/>
                </a:ext>
              </a:extLst>
            </p:cNvPr>
            <p:cNvSpPr txBox="1"/>
            <p:nvPr/>
          </p:nvSpPr>
          <p:spPr>
            <a:xfrm>
              <a:off x="4767752" y="4179210"/>
              <a:ext cx="1191352" cy="230832"/>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Semibold"/>
                  <a:cs typeface="+mn-cs"/>
                </a:rPr>
                <a:t>Parquet/Delta Lake</a:t>
              </a:r>
            </a:p>
          </p:txBody>
        </p:sp>
        <p:grpSp>
          <p:nvGrpSpPr>
            <p:cNvPr id="105" name="Group 104">
              <a:extLst>
                <a:ext uri="{FF2B5EF4-FFF2-40B4-BE49-F238E27FC236}">
                  <a16:creationId xmlns:a16="http://schemas.microsoft.com/office/drawing/2014/main" id="{C6FC8D3F-B42A-B339-E3A0-72CDF7AC91AA}"/>
                </a:ext>
              </a:extLst>
            </p:cNvPr>
            <p:cNvGrpSpPr/>
            <p:nvPr/>
          </p:nvGrpSpPr>
          <p:grpSpPr>
            <a:xfrm>
              <a:off x="10991086" y="4543126"/>
              <a:ext cx="788960" cy="762435"/>
              <a:chOff x="10786033" y="2312508"/>
              <a:chExt cx="867856" cy="838678"/>
            </a:xfrm>
          </p:grpSpPr>
          <p:sp>
            <p:nvSpPr>
              <p:cNvPr id="122" name="Oval 121">
                <a:extLst>
                  <a:ext uri="{FF2B5EF4-FFF2-40B4-BE49-F238E27FC236}">
                    <a16:creationId xmlns:a16="http://schemas.microsoft.com/office/drawing/2014/main" id="{DC383D81-4ADD-592D-555D-FB9428883B33}"/>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123" name="Graphic 52">
                <a:extLst>
                  <a:ext uri="{FF2B5EF4-FFF2-40B4-BE49-F238E27FC236}">
                    <a16:creationId xmlns:a16="http://schemas.microsoft.com/office/drawing/2014/main" id="{5368E877-2D7E-4611-E8D5-9E6C64FE4CB5}"/>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124" name="Freeform 65">
                  <a:extLst>
                    <a:ext uri="{FF2B5EF4-FFF2-40B4-BE49-F238E27FC236}">
                      <a16:creationId xmlns:a16="http://schemas.microsoft.com/office/drawing/2014/main" id="{2D432D77-1F55-EE8D-1F79-EA8BAA97C0CD}"/>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25" name="Freeform 66">
                  <a:extLst>
                    <a:ext uri="{FF2B5EF4-FFF2-40B4-BE49-F238E27FC236}">
                      <a16:creationId xmlns:a16="http://schemas.microsoft.com/office/drawing/2014/main" id="{143E0875-8139-769D-6BA1-DDE876F76529}"/>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26" name="Freeform 67">
                  <a:extLst>
                    <a:ext uri="{FF2B5EF4-FFF2-40B4-BE49-F238E27FC236}">
                      <a16:creationId xmlns:a16="http://schemas.microsoft.com/office/drawing/2014/main" id="{08263FC3-42D2-EB02-60AC-5E14912BD4E3}"/>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106" name="Cylinder 32">
              <a:extLst>
                <a:ext uri="{FF2B5EF4-FFF2-40B4-BE49-F238E27FC236}">
                  <a16:creationId xmlns:a16="http://schemas.microsoft.com/office/drawing/2014/main" id="{C7DFE552-6A1B-DCB0-B04B-6FC1C4FEA7F3}"/>
                </a:ext>
              </a:extLst>
            </p:cNvPr>
            <p:cNvSpPr/>
            <p:nvPr/>
          </p:nvSpPr>
          <p:spPr>
            <a:xfrm>
              <a:off x="7240123" y="4222200"/>
              <a:ext cx="917728" cy="1150388"/>
            </a:xfrm>
            <a:prstGeom prst="can">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107" name="Straight Arrow Connector 106">
              <a:extLst>
                <a:ext uri="{FF2B5EF4-FFF2-40B4-BE49-F238E27FC236}">
                  <a16:creationId xmlns:a16="http://schemas.microsoft.com/office/drawing/2014/main" id="{378C9D79-0734-7D66-A609-2549D30EB6A8}"/>
                </a:ext>
              </a:extLst>
            </p:cNvPr>
            <p:cNvCxnSpPr>
              <a:cxnSpLocks/>
            </p:cNvCxnSpPr>
            <p:nvPr/>
          </p:nvCxnSpPr>
          <p:spPr>
            <a:xfrm flipH="1">
              <a:off x="10398572" y="4892747"/>
              <a:ext cx="584709" cy="0"/>
            </a:xfrm>
            <a:prstGeom prst="straightConnector1">
              <a:avLst/>
            </a:prstGeom>
            <a:noFill/>
            <a:ln w="19050" cap="flat" cmpd="sng" algn="ctr">
              <a:solidFill>
                <a:srgbClr val="8DC8E8"/>
              </a:solidFill>
              <a:prstDash val="solid"/>
              <a:tailEnd type="triangle"/>
            </a:ln>
            <a:effectLst/>
          </p:spPr>
        </p:cxnSp>
        <p:sp>
          <p:nvSpPr>
            <p:cNvPr id="108" name="TextBox 107">
              <a:extLst>
                <a:ext uri="{FF2B5EF4-FFF2-40B4-BE49-F238E27FC236}">
                  <a16:creationId xmlns:a16="http://schemas.microsoft.com/office/drawing/2014/main" id="{CAB18D62-39F1-DDE3-37B0-0C3D2E450EED}"/>
                </a:ext>
              </a:extLst>
            </p:cNvPr>
            <p:cNvSpPr txBox="1"/>
            <p:nvPr/>
          </p:nvSpPr>
          <p:spPr>
            <a:xfrm>
              <a:off x="10229343" y="4399229"/>
              <a:ext cx="887996" cy="430887"/>
            </a:xfrm>
            <a:prstGeom prst="rect">
              <a:avLst/>
            </a:prstGeom>
            <a:noFill/>
          </p:spPr>
          <p:txBody>
            <a:bodyPr wrap="squar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DAX</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A446F"/>
                  </a:solidFill>
                  <a:effectLst/>
                  <a:uLnTx/>
                  <a:uFillTx/>
                  <a:latin typeface="Segoe UI Semibold"/>
                  <a:cs typeface="+mn-cs"/>
                </a:rPr>
                <a:t>Queries</a:t>
              </a:r>
            </a:p>
          </p:txBody>
        </p:sp>
        <p:sp>
          <p:nvSpPr>
            <p:cNvPr id="109" name="TextBox 108">
              <a:extLst>
                <a:ext uri="{FF2B5EF4-FFF2-40B4-BE49-F238E27FC236}">
                  <a16:creationId xmlns:a16="http://schemas.microsoft.com/office/drawing/2014/main" id="{8A6D74C7-C3AE-2620-2A39-16C1420DCCFB}"/>
                </a:ext>
              </a:extLst>
            </p:cNvPr>
            <p:cNvSpPr txBox="1"/>
            <p:nvPr/>
          </p:nvSpPr>
          <p:spPr>
            <a:xfrm>
              <a:off x="11431105" y="4719775"/>
              <a:ext cx="815095"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Reports</a:t>
              </a:r>
            </a:p>
          </p:txBody>
        </p:sp>
        <p:sp>
          <p:nvSpPr>
            <p:cNvPr id="110" name="Cube 109">
              <a:extLst>
                <a:ext uri="{FF2B5EF4-FFF2-40B4-BE49-F238E27FC236}">
                  <a16:creationId xmlns:a16="http://schemas.microsoft.com/office/drawing/2014/main" id="{E4A00E79-7349-32E9-2053-EF23B02238AD}"/>
                </a:ext>
              </a:extLst>
            </p:cNvPr>
            <p:cNvSpPr/>
            <p:nvPr/>
          </p:nvSpPr>
          <p:spPr bwMode="auto">
            <a:xfrm>
              <a:off x="9118414" y="4294626"/>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sp>
          <p:nvSpPr>
            <p:cNvPr id="111" name="Arrow: Left 110">
              <a:extLst>
                <a:ext uri="{FF2B5EF4-FFF2-40B4-BE49-F238E27FC236}">
                  <a16:creationId xmlns:a16="http://schemas.microsoft.com/office/drawing/2014/main" id="{670E77C6-7A95-6233-4C67-EEB42FB29276}"/>
                </a:ext>
              </a:extLst>
            </p:cNvPr>
            <p:cNvSpPr/>
            <p:nvPr/>
          </p:nvSpPr>
          <p:spPr bwMode="auto">
            <a:xfrm>
              <a:off x="6211399" y="4506665"/>
              <a:ext cx="917728"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nvGrpSpPr>
            <p:cNvPr id="112" name="Group 111">
              <a:extLst>
                <a:ext uri="{FF2B5EF4-FFF2-40B4-BE49-F238E27FC236}">
                  <a16:creationId xmlns:a16="http://schemas.microsoft.com/office/drawing/2014/main" id="{E12BAA3C-E830-44DA-1E2A-7239A7A022F1}"/>
                </a:ext>
              </a:extLst>
            </p:cNvPr>
            <p:cNvGrpSpPr/>
            <p:nvPr/>
          </p:nvGrpSpPr>
          <p:grpSpPr>
            <a:xfrm>
              <a:off x="9179318" y="5260717"/>
              <a:ext cx="681610" cy="603623"/>
              <a:chOff x="7194268" y="2345168"/>
              <a:chExt cx="681610" cy="603623"/>
            </a:xfrm>
            <a:solidFill>
              <a:srgbClr val="FF0000"/>
            </a:solidFill>
          </p:grpSpPr>
          <p:sp>
            <p:nvSpPr>
              <p:cNvPr id="119" name="Flowchart: Multidocument 24">
                <a:extLst>
                  <a:ext uri="{FF2B5EF4-FFF2-40B4-BE49-F238E27FC236}">
                    <a16:creationId xmlns:a16="http://schemas.microsoft.com/office/drawing/2014/main" id="{C2991CB4-6049-7F73-B294-F94126526D89}"/>
                  </a:ext>
                </a:extLst>
              </p:cNvPr>
              <p:cNvSpPr/>
              <p:nvPr/>
            </p:nvSpPr>
            <p:spPr>
              <a:xfrm>
                <a:off x="7194268" y="2345168"/>
                <a:ext cx="681610" cy="603623"/>
              </a:xfrm>
              <a:prstGeom prst="flowChartMultidocument">
                <a:avLst/>
              </a:prstGeom>
              <a:grp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A446F"/>
                  </a:solidFill>
                  <a:effectLst/>
                  <a:uLnTx/>
                  <a:uFillTx/>
                  <a:latin typeface="Segoe UI"/>
                  <a:ea typeface="+mn-ea"/>
                  <a:cs typeface="+mn-cs"/>
                </a:endParaRPr>
              </a:p>
            </p:txBody>
          </p:sp>
          <p:sp>
            <p:nvSpPr>
              <p:cNvPr id="120" name="TextBox 119">
                <a:extLst>
                  <a:ext uri="{FF2B5EF4-FFF2-40B4-BE49-F238E27FC236}">
                    <a16:creationId xmlns:a16="http://schemas.microsoft.com/office/drawing/2014/main" id="{4B14ABA5-92F3-961B-62AD-6077973F2AD5}"/>
                  </a:ext>
                </a:extLst>
              </p:cNvPr>
              <p:cNvSpPr txBox="1"/>
              <p:nvPr/>
            </p:nvSpPr>
            <p:spPr>
              <a:xfrm>
                <a:off x="7407345" y="2545153"/>
                <a:ext cx="184731" cy="2308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21" name="TextBox 120">
                <a:extLst>
                  <a:ext uri="{FF2B5EF4-FFF2-40B4-BE49-F238E27FC236}">
                    <a16:creationId xmlns:a16="http://schemas.microsoft.com/office/drawing/2014/main" id="{05A6C521-0EE4-DE64-F6B2-C047447A72D4}"/>
                  </a:ext>
                </a:extLst>
              </p:cNvPr>
              <p:cNvSpPr txBox="1"/>
              <p:nvPr/>
            </p:nvSpPr>
            <p:spPr>
              <a:xfrm>
                <a:off x="7194268" y="2462313"/>
                <a:ext cx="627095" cy="369332"/>
              </a:xfrm>
              <a:prstGeom prst="rect">
                <a:avLst/>
              </a:prstGeom>
              <a:grp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Copy of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113" name="Arrow: Right 112">
              <a:extLst>
                <a:ext uri="{FF2B5EF4-FFF2-40B4-BE49-F238E27FC236}">
                  <a16:creationId xmlns:a16="http://schemas.microsoft.com/office/drawing/2014/main" id="{4BF6166C-AE5B-12BF-0841-45B9E6DECEDE}"/>
                </a:ext>
              </a:extLst>
            </p:cNvPr>
            <p:cNvSpPr/>
            <p:nvPr/>
          </p:nvSpPr>
          <p:spPr bwMode="auto">
            <a:xfrm>
              <a:off x="8284508" y="4524495"/>
              <a:ext cx="775516" cy="686115"/>
            </a:xfrm>
            <a:prstGeom prst="rightArrow">
              <a:avLst>
                <a:gd name="adj1" fmla="val 50000"/>
                <a:gd name="adj2" fmla="val 48029"/>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Import</a:t>
              </a:r>
            </a:p>
          </p:txBody>
        </p:sp>
        <p:grpSp>
          <p:nvGrpSpPr>
            <p:cNvPr id="114" name="Group 113">
              <a:extLst>
                <a:ext uri="{FF2B5EF4-FFF2-40B4-BE49-F238E27FC236}">
                  <a16:creationId xmlns:a16="http://schemas.microsoft.com/office/drawing/2014/main" id="{1F6A223F-D516-02BE-BFE9-5ABCD346E780}"/>
                </a:ext>
              </a:extLst>
            </p:cNvPr>
            <p:cNvGrpSpPr/>
            <p:nvPr/>
          </p:nvGrpSpPr>
          <p:grpSpPr>
            <a:xfrm>
              <a:off x="5109697" y="4462348"/>
              <a:ext cx="681610" cy="603623"/>
              <a:chOff x="7194268" y="2345168"/>
              <a:chExt cx="681610" cy="603623"/>
            </a:xfrm>
          </p:grpSpPr>
          <p:sp>
            <p:nvSpPr>
              <p:cNvPr id="116" name="Flowchart: Multidocument 24">
                <a:extLst>
                  <a:ext uri="{FF2B5EF4-FFF2-40B4-BE49-F238E27FC236}">
                    <a16:creationId xmlns:a16="http://schemas.microsoft.com/office/drawing/2014/main" id="{2522E8AA-F0AB-972E-6769-D38FA12B867E}"/>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117" name="TextBox 116">
                <a:extLst>
                  <a:ext uri="{FF2B5EF4-FFF2-40B4-BE49-F238E27FC236}">
                    <a16:creationId xmlns:a16="http://schemas.microsoft.com/office/drawing/2014/main" id="{E8DB2A40-11B3-DE94-E0EE-7CA193AF6BFB}"/>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18" name="TextBox 117">
                <a:extLst>
                  <a:ext uri="{FF2B5EF4-FFF2-40B4-BE49-F238E27FC236}">
                    <a16:creationId xmlns:a16="http://schemas.microsoft.com/office/drawing/2014/main" id="{3357A92E-AFA9-837B-DA88-6EB5C646091A}"/>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115" name="TextBox 114">
              <a:extLst>
                <a:ext uri="{FF2B5EF4-FFF2-40B4-BE49-F238E27FC236}">
                  <a16:creationId xmlns:a16="http://schemas.microsoft.com/office/drawing/2014/main" id="{1112D935-57A2-C1E0-C024-7E0E85214B5B}"/>
                </a:ext>
              </a:extLst>
            </p:cNvPr>
            <p:cNvSpPr txBox="1"/>
            <p:nvPr/>
          </p:nvSpPr>
          <p:spPr>
            <a:xfrm>
              <a:off x="5034428" y="5151672"/>
              <a:ext cx="890052" cy="307777"/>
            </a:xfrm>
            <a:prstGeom prst="rect">
              <a:avLst/>
            </a:prstGeom>
            <a:noFill/>
          </p:spPr>
          <p:txBody>
            <a:bodyPr wrap="none"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A446F"/>
                  </a:solidFill>
                  <a:effectLst/>
                  <a:uLnTx/>
                  <a:uFillTx/>
                  <a:latin typeface="Segoe UI Semibold"/>
                  <a:cs typeface="+mn-cs"/>
                </a:rPr>
                <a:t>OneLake</a:t>
              </a:r>
            </a:p>
          </p:txBody>
        </p:sp>
      </p:grpSp>
      <p:sp>
        <p:nvSpPr>
          <p:cNvPr id="127" name="Title 5">
            <a:extLst>
              <a:ext uri="{FF2B5EF4-FFF2-40B4-BE49-F238E27FC236}">
                <a16:creationId xmlns:a16="http://schemas.microsoft.com/office/drawing/2014/main" id="{FBD90EE0-E12A-F273-A714-BC20E9ABFD3B}"/>
              </a:ext>
            </a:extLst>
          </p:cNvPr>
          <p:cNvSpPr txBox="1">
            <a:spLocks/>
          </p:cNvSpPr>
          <p:nvPr/>
        </p:nvSpPr>
        <p:spPr>
          <a:xfrm>
            <a:off x="0" y="5013044"/>
            <a:ext cx="4245888" cy="492443"/>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3200">
                <a:solidFill>
                  <a:srgbClr val="2A446F"/>
                </a:solidFill>
                <a:latin typeface="Segoe UI Semibold"/>
              </a:rPr>
              <a:t> “See-through Mode”</a:t>
            </a:r>
          </a:p>
        </p:txBody>
      </p:sp>
      <p:sp>
        <p:nvSpPr>
          <p:cNvPr id="128" name="Rectangle: Rounded Corners 8">
            <a:extLst>
              <a:ext uri="{FF2B5EF4-FFF2-40B4-BE49-F238E27FC236}">
                <a16:creationId xmlns:a16="http://schemas.microsoft.com/office/drawing/2014/main" id="{4A1B7664-AA3E-7F49-CF11-BE05FA0316E7}"/>
              </a:ext>
            </a:extLst>
          </p:cNvPr>
          <p:cNvSpPr/>
          <p:nvPr/>
        </p:nvSpPr>
        <p:spPr>
          <a:xfrm>
            <a:off x="4245888" y="5045077"/>
            <a:ext cx="2360176" cy="1358322"/>
          </a:xfrm>
          <a:prstGeom prst="roundRect">
            <a:avLst>
              <a:gd name="adj" fmla="val 11978"/>
            </a:avLst>
          </a:prstGeom>
          <a:gradFill>
            <a:gsLst>
              <a:gs pos="20000">
                <a:srgbClr val="8DC8E8"/>
              </a:gs>
              <a:gs pos="100000">
                <a:srgbClr val="0078D3"/>
              </a:gs>
            </a:gsLst>
            <a:lin ang="2700000" scaled="0"/>
          </a:gra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sp>
        <p:nvSpPr>
          <p:cNvPr id="129" name="TextBox 128">
            <a:extLst>
              <a:ext uri="{FF2B5EF4-FFF2-40B4-BE49-F238E27FC236}">
                <a16:creationId xmlns:a16="http://schemas.microsoft.com/office/drawing/2014/main" id="{6B471767-9F7F-3E26-AFA9-36BE4C24C3C9}"/>
              </a:ext>
            </a:extLst>
          </p:cNvPr>
          <p:cNvSpPr txBox="1"/>
          <p:nvPr/>
        </p:nvSpPr>
        <p:spPr>
          <a:xfrm>
            <a:off x="4767752" y="5120505"/>
            <a:ext cx="1191352" cy="230832"/>
          </a:xfrm>
          <a:prstGeom prst="rect">
            <a:avLst/>
          </a:prstGeom>
          <a:noFill/>
        </p:spPr>
        <p:txBody>
          <a:bodyPr wrap="none" rtlCol="0">
            <a:spAutoFit/>
          </a:bodyPr>
          <a:lstStyle/>
          <a:p>
            <a:pPr algn="ctr" defTabSz="914367" fontAlgn="auto">
              <a:spcBef>
                <a:spcPts val="0"/>
              </a:spcBef>
              <a:spcAft>
                <a:spcPts val="0"/>
              </a:spcAft>
            </a:pPr>
            <a:r>
              <a:rPr lang="en-US" sz="900" b="0">
                <a:solidFill>
                  <a:srgbClr val="FFFFFF"/>
                </a:solidFill>
                <a:latin typeface="Segoe UI Semibold"/>
                <a:cs typeface="+mn-cs"/>
              </a:rPr>
              <a:t>Parquet/Delta Lake</a:t>
            </a:r>
          </a:p>
        </p:txBody>
      </p:sp>
      <p:grpSp>
        <p:nvGrpSpPr>
          <p:cNvPr id="130" name="Group 129">
            <a:extLst>
              <a:ext uri="{FF2B5EF4-FFF2-40B4-BE49-F238E27FC236}">
                <a16:creationId xmlns:a16="http://schemas.microsoft.com/office/drawing/2014/main" id="{4DCED5CC-66EC-2A09-6100-AFEC234A25F9}"/>
              </a:ext>
            </a:extLst>
          </p:cNvPr>
          <p:cNvGrpSpPr/>
          <p:nvPr/>
        </p:nvGrpSpPr>
        <p:grpSpPr>
          <a:xfrm>
            <a:off x="10991086" y="5484421"/>
            <a:ext cx="788960" cy="762435"/>
            <a:chOff x="10786033" y="2312508"/>
            <a:chExt cx="867856" cy="838678"/>
          </a:xfrm>
        </p:grpSpPr>
        <p:sp>
          <p:nvSpPr>
            <p:cNvPr id="131" name="Oval 130">
              <a:extLst>
                <a:ext uri="{FF2B5EF4-FFF2-40B4-BE49-F238E27FC236}">
                  <a16:creationId xmlns:a16="http://schemas.microsoft.com/office/drawing/2014/main" id="{14302574-7CAE-8DC2-9D81-BCF6AF05D483}"/>
                </a:ext>
              </a:extLst>
            </p:cNvPr>
            <p:cNvSpPr/>
            <p:nvPr/>
          </p:nvSpPr>
          <p:spPr bwMode="auto">
            <a:xfrm>
              <a:off x="10786033" y="2312508"/>
              <a:ext cx="798617" cy="798617"/>
            </a:xfrm>
            <a:prstGeom prst="ellipse">
              <a:avLst/>
            </a:prstGeom>
            <a:solidFill>
              <a:srgbClr val="FFFFFF">
                <a:lumMod val="75000"/>
                <a:lumOff val="25000"/>
                <a:alpha val="20000"/>
              </a:srgbClr>
            </a:solidFill>
            <a:ln w="12700">
              <a:solidFill>
                <a:srgbClr val="8DC8E8"/>
              </a:solidFill>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FFC000"/>
                </a:solidFill>
                <a:effectLst/>
                <a:uLnTx/>
                <a:uFillTx/>
                <a:latin typeface="Segoe UI"/>
                <a:cs typeface="Segoe UI" pitchFamily="34" charset="0"/>
              </a:endParaRPr>
            </a:p>
          </p:txBody>
        </p:sp>
        <p:grpSp>
          <p:nvGrpSpPr>
            <p:cNvPr id="132" name="Graphic 52">
              <a:extLst>
                <a:ext uri="{FF2B5EF4-FFF2-40B4-BE49-F238E27FC236}">
                  <a16:creationId xmlns:a16="http://schemas.microsoft.com/office/drawing/2014/main" id="{A4B86447-1B2E-C3C1-BA5E-B9E8E3427088}"/>
                </a:ext>
              </a:extLst>
            </p:cNvPr>
            <p:cNvGrpSpPr/>
            <p:nvPr/>
          </p:nvGrpSpPr>
          <p:grpSpPr>
            <a:xfrm>
              <a:off x="10995229" y="2444812"/>
              <a:ext cx="658660" cy="706374"/>
              <a:chOff x="11019225" y="839929"/>
              <a:chExt cx="876677" cy="940183"/>
            </a:xfrm>
            <a:gradFill>
              <a:gsLst>
                <a:gs pos="0">
                  <a:srgbClr val="8DC8E8"/>
                </a:gs>
                <a:gs pos="100000">
                  <a:srgbClr val="0078D3"/>
                </a:gs>
              </a:gsLst>
              <a:lin ang="5400000" scaled="1"/>
            </a:gradFill>
          </p:grpSpPr>
          <p:sp>
            <p:nvSpPr>
              <p:cNvPr id="133" name="Freeform 65">
                <a:extLst>
                  <a:ext uri="{FF2B5EF4-FFF2-40B4-BE49-F238E27FC236}">
                    <a16:creationId xmlns:a16="http://schemas.microsoft.com/office/drawing/2014/main" id="{E8BDCDD7-6864-B02F-7CF8-E627D804343B}"/>
                  </a:ext>
                </a:extLst>
              </p:cNvPr>
              <p:cNvSpPr/>
              <p:nvPr/>
            </p:nvSpPr>
            <p:spPr>
              <a:xfrm>
                <a:off x="11019225" y="1195249"/>
                <a:ext cx="520748" cy="561684"/>
              </a:xfrm>
              <a:custGeom>
                <a:avLst/>
                <a:gdLst>
                  <a:gd name="connsiteX0" fmla="*/ 520749 w 520748"/>
                  <a:gd name="connsiteY0" fmla="*/ 218071 h 561684"/>
                  <a:gd name="connsiteX1" fmla="*/ 184081 w 520748"/>
                  <a:gd name="connsiteY1" fmla="*/ 8504 h 561684"/>
                  <a:gd name="connsiteX2" fmla="*/ 0 w 520748"/>
                  <a:gd name="connsiteY2" fmla="*/ 221805 h 561684"/>
                  <a:gd name="connsiteX3" fmla="*/ 0 w 520748"/>
                  <a:gd name="connsiteY3" fmla="*/ 471983 h 561684"/>
                  <a:gd name="connsiteX4" fmla="*/ 200577 w 520748"/>
                  <a:gd name="connsiteY4" fmla="*/ 553118 h 561684"/>
                  <a:gd name="connsiteX5" fmla="*/ 248463 w 520748"/>
                  <a:gd name="connsiteY5" fmla="*/ 448751 h 561684"/>
                  <a:gd name="connsiteX6" fmla="*/ 122880 w 520748"/>
                  <a:gd name="connsiteY6" fmla="*/ 399343 h 561684"/>
                  <a:gd name="connsiteX7" fmla="*/ 122880 w 520748"/>
                  <a:gd name="connsiteY7" fmla="*/ 236724 h 561684"/>
                  <a:gd name="connsiteX8" fmla="*/ 141592 w 520748"/>
                  <a:gd name="connsiteY8" fmla="*/ 216636 h 561684"/>
                  <a:gd name="connsiteX9" fmla="*/ 160255 w 520748"/>
                  <a:gd name="connsiteY9" fmla="*/ 236871 h 561684"/>
                  <a:gd name="connsiteX10" fmla="*/ 160255 w 520748"/>
                  <a:gd name="connsiteY10" fmla="*/ 375765 h 561684"/>
                  <a:gd name="connsiteX11" fmla="*/ 280436 w 520748"/>
                  <a:gd name="connsiteY11" fmla="*/ 421048 h 561684"/>
                  <a:gd name="connsiteX12" fmla="*/ 311082 w 520748"/>
                  <a:gd name="connsiteY12" fmla="*/ 433523 h 561684"/>
                  <a:gd name="connsiteX13" fmla="*/ 382395 w 520748"/>
                  <a:gd name="connsiteY13" fmla="*/ 218110 h 56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0748" h="561684">
                    <a:moveTo>
                      <a:pt x="520749" y="218071"/>
                    </a:moveTo>
                    <a:cubicBezTo>
                      <a:pt x="510139" y="43960"/>
                      <a:pt x="330381" y="-25870"/>
                      <a:pt x="184081" y="8504"/>
                    </a:cubicBezTo>
                    <a:cubicBezTo>
                      <a:pt x="78095" y="33405"/>
                      <a:pt x="0" y="111200"/>
                      <a:pt x="0" y="221805"/>
                    </a:cubicBezTo>
                    <a:lnTo>
                      <a:pt x="0" y="471983"/>
                    </a:lnTo>
                    <a:lnTo>
                      <a:pt x="200577" y="553118"/>
                    </a:lnTo>
                    <a:cubicBezTo>
                      <a:pt x="296740" y="594176"/>
                      <a:pt x="338541" y="475765"/>
                      <a:pt x="248463" y="448751"/>
                    </a:cubicBezTo>
                    <a:lnTo>
                      <a:pt x="122880" y="399343"/>
                    </a:lnTo>
                    <a:lnTo>
                      <a:pt x="122880" y="236724"/>
                    </a:lnTo>
                    <a:cubicBezTo>
                      <a:pt x="122880" y="226116"/>
                      <a:pt x="130148" y="216636"/>
                      <a:pt x="141592" y="216636"/>
                    </a:cubicBezTo>
                    <a:cubicBezTo>
                      <a:pt x="152593" y="216636"/>
                      <a:pt x="160992" y="226213"/>
                      <a:pt x="160255" y="236871"/>
                    </a:cubicBezTo>
                    <a:lnTo>
                      <a:pt x="160255" y="375765"/>
                    </a:lnTo>
                    <a:lnTo>
                      <a:pt x="280436" y="421048"/>
                    </a:lnTo>
                    <a:lnTo>
                      <a:pt x="311082" y="433523"/>
                    </a:lnTo>
                    <a:lnTo>
                      <a:pt x="382395" y="218110"/>
                    </a:lnTo>
                    <a:close/>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34" name="Freeform 66">
                <a:extLst>
                  <a:ext uri="{FF2B5EF4-FFF2-40B4-BE49-F238E27FC236}">
                    <a16:creationId xmlns:a16="http://schemas.microsoft.com/office/drawing/2014/main" id="{05702084-07E1-7BEF-44B2-410D13299E25}"/>
                  </a:ext>
                </a:extLst>
              </p:cNvPr>
              <p:cNvSpPr/>
              <p:nvPr/>
            </p:nvSpPr>
            <p:spPr>
              <a:xfrm>
                <a:off x="11111071" y="839929"/>
                <a:ext cx="333134" cy="322472"/>
              </a:xfrm>
              <a:custGeom>
                <a:avLst/>
                <a:gdLst>
                  <a:gd name="connsiteX0" fmla="*/ 166542 w 333134"/>
                  <a:gd name="connsiteY0" fmla="*/ 0 h 322472"/>
                  <a:gd name="connsiteX1" fmla="*/ 333134 w 333134"/>
                  <a:gd name="connsiteY1" fmla="*/ 161236 h 322472"/>
                  <a:gd name="connsiteX2" fmla="*/ 166542 w 333134"/>
                  <a:gd name="connsiteY2" fmla="*/ 322472 h 322472"/>
                  <a:gd name="connsiteX3" fmla="*/ 0 w 333134"/>
                  <a:gd name="connsiteY3" fmla="*/ 161236 h 322472"/>
                  <a:gd name="connsiteX4" fmla="*/ 166542 w 333134"/>
                  <a:gd name="connsiteY4" fmla="*/ 0 h 322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134" h="322472">
                    <a:moveTo>
                      <a:pt x="166542" y="0"/>
                    </a:moveTo>
                    <a:cubicBezTo>
                      <a:pt x="258531" y="0"/>
                      <a:pt x="333134" y="72197"/>
                      <a:pt x="333134" y="161236"/>
                    </a:cubicBezTo>
                    <a:cubicBezTo>
                      <a:pt x="333134" y="250278"/>
                      <a:pt x="258531" y="322472"/>
                      <a:pt x="166542" y="322472"/>
                    </a:cubicBezTo>
                    <a:cubicBezTo>
                      <a:pt x="74553" y="322472"/>
                      <a:pt x="0" y="250276"/>
                      <a:pt x="0" y="161236"/>
                    </a:cubicBezTo>
                    <a:cubicBezTo>
                      <a:pt x="-49" y="72194"/>
                      <a:pt x="74505" y="0"/>
                      <a:pt x="166542" y="0"/>
                    </a:cubicBezTo>
                  </a:path>
                </a:pathLst>
              </a:custGeom>
              <a:gradFill>
                <a:gsLst>
                  <a:gs pos="0">
                    <a:srgbClr val="0078D3"/>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sp>
            <p:nvSpPr>
              <p:cNvPr id="135" name="Freeform 67">
                <a:extLst>
                  <a:ext uri="{FF2B5EF4-FFF2-40B4-BE49-F238E27FC236}">
                    <a16:creationId xmlns:a16="http://schemas.microsoft.com/office/drawing/2014/main" id="{006D0E94-CD33-A5D3-9B38-3FCF733B595F}"/>
                  </a:ext>
                </a:extLst>
              </p:cNvPr>
              <p:cNvSpPr/>
              <p:nvPr/>
            </p:nvSpPr>
            <p:spPr>
              <a:xfrm>
                <a:off x="11319163" y="1449870"/>
                <a:ext cx="576739" cy="330242"/>
              </a:xfrm>
              <a:custGeom>
                <a:avLst/>
                <a:gdLst>
                  <a:gd name="connsiteX0" fmla="*/ 293106 w 576739"/>
                  <a:gd name="connsiteY0" fmla="*/ 136631 h 330242"/>
                  <a:gd name="connsiteX1" fmla="*/ 325766 w 576739"/>
                  <a:gd name="connsiteY1" fmla="*/ 172827 h 330242"/>
                  <a:gd name="connsiteX2" fmla="*/ 286084 w 576739"/>
                  <a:gd name="connsiteY2" fmla="*/ 208975 h 330242"/>
                  <a:gd name="connsiteX3" fmla="*/ 253472 w 576739"/>
                  <a:gd name="connsiteY3" fmla="*/ 172827 h 330242"/>
                  <a:gd name="connsiteX4" fmla="*/ 293106 w 576739"/>
                  <a:gd name="connsiteY4" fmla="*/ 136631 h 330242"/>
                  <a:gd name="connsiteX5" fmla="*/ 576740 w 576739"/>
                  <a:gd name="connsiteY5" fmla="*/ 0 h 330242"/>
                  <a:gd name="connsiteX6" fmla="*/ 109326 w 576739"/>
                  <a:gd name="connsiteY6" fmla="*/ 0 h 330242"/>
                  <a:gd name="connsiteX7" fmla="*/ 0 w 576739"/>
                  <a:gd name="connsiteY7" fmla="*/ 330242 h 330242"/>
                  <a:gd name="connsiteX8" fmla="*/ 467414 w 576739"/>
                  <a:gd name="connsiteY8" fmla="*/ 330242 h 33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739" h="330242">
                    <a:moveTo>
                      <a:pt x="293106" y="136631"/>
                    </a:moveTo>
                    <a:cubicBezTo>
                      <a:pt x="313094" y="136631"/>
                      <a:pt x="327681" y="152839"/>
                      <a:pt x="325766" y="172827"/>
                    </a:cubicBezTo>
                    <a:cubicBezTo>
                      <a:pt x="323802" y="192767"/>
                      <a:pt x="306072" y="208975"/>
                      <a:pt x="286084" y="208975"/>
                    </a:cubicBezTo>
                    <a:cubicBezTo>
                      <a:pt x="266144" y="208975"/>
                      <a:pt x="251557" y="192816"/>
                      <a:pt x="253472" y="172827"/>
                    </a:cubicBezTo>
                    <a:cubicBezTo>
                      <a:pt x="255387" y="152839"/>
                      <a:pt x="273117" y="136631"/>
                      <a:pt x="293106" y="136631"/>
                    </a:cubicBezTo>
                    <a:moveTo>
                      <a:pt x="576740" y="0"/>
                    </a:moveTo>
                    <a:lnTo>
                      <a:pt x="109326" y="0"/>
                    </a:lnTo>
                    <a:lnTo>
                      <a:pt x="0" y="330242"/>
                    </a:lnTo>
                    <a:lnTo>
                      <a:pt x="467414" y="330242"/>
                    </a:lnTo>
                    <a:close/>
                  </a:path>
                </a:pathLst>
              </a:custGeom>
              <a:gradFill>
                <a:gsLst>
                  <a:gs pos="0">
                    <a:srgbClr val="8DC8E8"/>
                  </a:gs>
                  <a:gs pos="100000">
                    <a:srgbClr val="8DC8E8"/>
                  </a:gs>
                </a:gsLst>
                <a:lin ang="5400000" scaled="0"/>
              </a:gradFill>
              <a:ln w="9525" cap="sq">
                <a:noFill/>
                <a:prstDash val="solid"/>
                <a:miter lim="800000"/>
                <a:headEnd/>
                <a:tailEnd/>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2A446F"/>
                  </a:solidFill>
                  <a:effectLst/>
                  <a:uLnTx/>
                  <a:uFillTx/>
                  <a:latin typeface="Segoe UI"/>
                  <a:cs typeface="+mn-cs"/>
                </a:endParaRPr>
              </a:p>
            </p:txBody>
          </p:sp>
        </p:grpSp>
      </p:grpSp>
      <p:sp>
        <p:nvSpPr>
          <p:cNvPr id="136" name="Cylinder 32">
            <a:extLst>
              <a:ext uri="{FF2B5EF4-FFF2-40B4-BE49-F238E27FC236}">
                <a16:creationId xmlns:a16="http://schemas.microsoft.com/office/drawing/2014/main" id="{8F20F652-36DB-31F5-2ADB-C59BE8BD6FCC}"/>
              </a:ext>
            </a:extLst>
          </p:cNvPr>
          <p:cNvSpPr/>
          <p:nvPr/>
        </p:nvSpPr>
        <p:spPr>
          <a:xfrm>
            <a:off x="7240123" y="5163495"/>
            <a:ext cx="917728" cy="1150388"/>
          </a:xfrm>
          <a:prstGeom prst="can">
            <a:avLst/>
          </a:prstGeom>
          <a:noFill/>
          <a:ln w="15875" cap="flat" cmpd="sng" algn="ctr">
            <a:solidFill>
              <a:srgbClr val="FFFFFF">
                <a:lumMod val="75000"/>
              </a:srgbClr>
            </a:solidFill>
            <a:prstDash val="sysDash"/>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Data </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Warehouse/</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mn-ea"/>
                <a:cs typeface="+mn-cs"/>
              </a:rPr>
              <a:t>Lakehouse</a:t>
            </a:r>
          </a:p>
        </p:txBody>
      </p:sp>
      <p:cxnSp>
        <p:nvCxnSpPr>
          <p:cNvPr id="137" name="Straight Arrow Connector 136">
            <a:extLst>
              <a:ext uri="{FF2B5EF4-FFF2-40B4-BE49-F238E27FC236}">
                <a16:creationId xmlns:a16="http://schemas.microsoft.com/office/drawing/2014/main" id="{61B85DC2-07A4-4C26-A725-177A75E35BC5}"/>
              </a:ext>
            </a:extLst>
          </p:cNvPr>
          <p:cNvCxnSpPr>
            <a:cxnSpLocks/>
          </p:cNvCxnSpPr>
          <p:nvPr/>
        </p:nvCxnSpPr>
        <p:spPr>
          <a:xfrm flipH="1">
            <a:off x="10398572" y="5834042"/>
            <a:ext cx="584709" cy="0"/>
          </a:xfrm>
          <a:prstGeom prst="straightConnector1">
            <a:avLst/>
          </a:prstGeom>
          <a:noFill/>
          <a:ln w="19050" cap="flat" cmpd="sng" algn="ctr">
            <a:solidFill>
              <a:srgbClr val="8DC8E8"/>
            </a:solidFill>
            <a:prstDash val="solid"/>
            <a:tailEnd type="triangle"/>
          </a:ln>
          <a:effectLst/>
        </p:spPr>
      </p:cxnSp>
      <p:sp>
        <p:nvSpPr>
          <p:cNvPr id="138" name="TextBox 137">
            <a:extLst>
              <a:ext uri="{FF2B5EF4-FFF2-40B4-BE49-F238E27FC236}">
                <a16:creationId xmlns:a16="http://schemas.microsoft.com/office/drawing/2014/main" id="{7244B4C1-6FC4-F902-BDF4-BB9C80BD53B6}"/>
              </a:ext>
            </a:extLst>
          </p:cNvPr>
          <p:cNvSpPr txBox="1"/>
          <p:nvPr/>
        </p:nvSpPr>
        <p:spPr>
          <a:xfrm>
            <a:off x="10229343" y="5340524"/>
            <a:ext cx="887996" cy="430887"/>
          </a:xfrm>
          <a:prstGeom prst="rect">
            <a:avLst/>
          </a:prstGeom>
          <a:noFill/>
        </p:spPr>
        <p:txBody>
          <a:bodyPr wrap="square" rtlCol="0">
            <a:spAutoFit/>
          </a:bodyPr>
          <a:lstStyle/>
          <a:p>
            <a:pPr algn="ctr" defTabSz="914367" fontAlgn="auto">
              <a:spcBef>
                <a:spcPts val="0"/>
              </a:spcBef>
              <a:spcAft>
                <a:spcPts val="0"/>
              </a:spcAft>
            </a:pPr>
            <a:r>
              <a:rPr lang="en-US" sz="1100" b="0">
                <a:solidFill>
                  <a:srgbClr val="2A446F"/>
                </a:solidFill>
                <a:latin typeface="Segoe UI Semibold"/>
                <a:cs typeface="+mn-cs"/>
              </a:rPr>
              <a:t>DAX</a:t>
            </a:r>
          </a:p>
          <a:p>
            <a:pPr algn="ctr" defTabSz="914367" fontAlgn="auto">
              <a:spcBef>
                <a:spcPts val="0"/>
              </a:spcBef>
              <a:spcAft>
                <a:spcPts val="0"/>
              </a:spcAft>
            </a:pPr>
            <a:r>
              <a:rPr lang="en-US" sz="1100" b="0">
                <a:solidFill>
                  <a:srgbClr val="2A446F"/>
                </a:solidFill>
                <a:latin typeface="Segoe UI Semibold"/>
                <a:cs typeface="+mn-cs"/>
              </a:rPr>
              <a:t>Queries</a:t>
            </a:r>
          </a:p>
        </p:txBody>
      </p:sp>
      <p:sp>
        <p:nvSpPr>
          <p:cNvPr id="139" name="TextBox 138">
            <a:extLst>
              <a:ext uri="{FF2B5EF4-FFF2-40B4-BE49-F238E27FC236}">
                <a16:creationId xmlns:a16="http://schemas.microsoft.com/office/drawing/2014/main" id="{8327F99E-FAB0-ACEA-91F4-35AFDECFD56E}"/>
              </a:ext>
            </a:extLst>
          </p:cNvPr>
          <p:cNvSpPr txBox="1"/>
          <p:nvPr/>
        </p:nvSpPr>
        <p:spPr>
          <a:xfrm>
            <a:off x="11431105" y="5679607"/>
            <a:ext cx="815095" cy="307777"/>
          </a:xfrm>
          <a:prstGeom prst="rect">
            <a:avLst/>
          </a:prstGeom>
          <a:noFill/>
        </p:spPr>
        <p:txBody>
          <a:bodyPr wrap="none" rtlCol="0">
            <a:spAutoFit/>
          </a:bodyPr>
          <a:lstStyle/>
          <a:p>
            <a:pPr algn="ctr" defTabSz="914367" fontAlgn="auto">
              <a:spcBef>
                <a:spcPts val="0"/>
              </a:spcBef>
              <a:spcAft>
                <a:spcPts val="0"/>
              </a:spcAft>
            </a:pPr>
            <a:r>
              <a:rPr lang="en-US" sz="1400" b="0">
                <a:solidFill>
                  <a:srgbClr val="2A446F"/>
                </a:solidFill>
                <a:latin typeface="Segoe UI Semibold"/>
                <a:cs typeface="+mn-cs"/>
              </a:rPr>
              <a:t>Reports</a:t>
            </a:r>
          </a:p>
        </p:txBody>
      </p:sp>
      <p:sp>
        <p:nvSpPr>
          <p:cNvPr id="140" name="Cube 139">
            <a:extLst>
              <a:ext uri="{FF2B5EF4-FFF2-40B4-BE49-F238E27FC236}">
                <a16:creationId xmlns:a16="http://schemas.microsoft.com/office/drawing/2014/main" id="{86DE406D-9FB0-F796-653C-9FC2481C70BA}"/>
              </a:ext>
            </a:extLst>
          </p:cNvPr>
          <p:cNvSpPr/>
          <p:nvPr/>
        </p:nvSpPr>
        <p:spPr bwMode="auto">
          <a:xfrm>
            <a:off x="9118414" y="5235921"/>
            <a:ext cx="993239" cy="1010935"/>
          </a:xfrm>
          <a:prstGeom prst="cube">
            <a:avLst/>
          </a:prstGeom>
          <a:gradFill>
            <a:gsLst>
              <a:gs pos="100000">
                <a:srgbClr val="0078D3"/>
              </a:gs>
              <a:gs pos="0">
                <a:srgbClr val="2A446F">
                  <a:lumMod val="95000"/>
                </a:srgbClr>
              </a:gs>
            </a:gsLst>
            <a:lin ang="5400000" scaled="0"/>
          </a:gradFill>
          <a:ln w="15875" cap="flat" cmpd="sng" algn="ctr">
            <a:solidFill>
              <a:srgbClr val="FFFFFF"/>
            </a:solidFill>
            <a:prstDash val="sysDot"/>
          </a:ln>
          <a:effectLst/>
        </p:spPr>
        <p:txBody>
          <a:bodyPr wrap="none"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Power BI</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Analysis</a:t>
            </a:r>
          </a:p>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Semibold"/>
                <a:ea typeface="+mn-ea"/>
                <a:cs typeface="+mn-cs"/>
              </a:rPr>
              <a:t>Services</a:t>
            </a:r>
          </a:p>
        </p:txBody>
      </p:sp>
      <p:sp>
        <p:nvSpPr>
          <p:cNvPr id="141" name="Arrow: Left 140">
            <a:extLst>
              <a:ext uri="{FF2B5EF4-FFF2-40B4-BE49-F238E27FC236}">
                <a16:creationId xmlns:a16="http://schemas.microsoft.com/office/drawing/2014/main" id="{014EED52-236E-FF46-5EB1-5AED1536E397}"/>
              </a:ext>
            </a:extLst>
          </p:cNvPr>
          <p:cNvSpPr/>
          <p:nvPr/>
        </p:nvSpPr>
        <p:spPr bwMode="auto">
          <a:xfrm>
            <a:off x="6211399" y="5447960"/>
            <a:ext cx="2844070" cy="686116"/>
          </a:xfrm>
          <a:prstGeom prst="leftArrow">
            <a:avLst/>
          </a:prstGeom>
          <a:gradFill>
            <a:gsLst>
              <a:gs pos="0">
                <a:srgbClr val="2A446F">
                  <a:lumMod val="85000"/>
                  <a:alpha val="0"/>
                </a:srgbClr>
              </a:gs>
              <a:gs pos="68000">
                <a:srgbClr val="2A446F">
                  <a:lumMod val="95000"/>
                </a:srgbClr>
              </a:gs>
            </a:gsLst>
            <a:lin ang="5400000" scaled="0"/>
          </a:gra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can</a:t>
            </a:r>
          </a:p>
        </p:txBody>
      </p:sp>
      <p:grpSp>
        <p:nvGrpSpPr>
          <p:cNvPr id="142" name="Group 141">
            <a:extLst>
              <a:ext uri="{FF2B5EF4-FFF2-40B4-BE49-F238E27FC236}">
                <a16:creationId xmlns:a16="http://schemas.microsoft.com/office/drawing/2014/main" id="{D10513FB-DB2B-4B82-986C-F71930927B3B}"/>
              </a:ext>
            </a:extLst>
          </p:cNvPr>
          <p:cNvGrpSpPr/>
          <p:nvPr/>
        </p:nvGrpSpPr>
        <p:grpSpPr>
          <a:xfrm>
            <a:off x="5109697" y="5433210"/>
            <a:ext cx="681610" cy="603623"/>
            <a:chOff x="7194268" y="2345168"/>
            <a:chExt cx="681610" cy="603623"/>
          </a:xfrm>
        </p:grpSpPr>
        <p:sp>
          <p:nvSpPr>
            <p:cNvPr id="143" name="Flowchart: Multidocument 24">
              <a:extLst>
                <a:ext uri="{FF2B5EF4-FFF2-40B4-BE49-F238E27FC236}">
                  <a16:creationId xmlns:a16="http://schemas.microsoft.com/office/drawing/2014/main" id="{7ADF891D-DAE9-6895-F4C9-F541B7F4517F}"/>
                </a:ext>
              </a:extLst>
            </p:cNvPr>
            <p:cNvSpPr/>
            <p:nvPr/>
          </p:nvSpPr>
          <p:spPr>
            <a:xfrm>
              <a:off x="7194268" y="2345168"/>
              <a:ext cx="681610" cy="603623"/>
            </a:xfrm>
            <a:prstGeom prst="flowChartMultidocument">
              <a:avLst/>
            </a:prstGeom>
            <a:gradFill>
              <a:gsLst>
                <a:gs pos="100000">
                  <a:srgbClr val="FFB900"/>
                </a:gs>
                <a:gs pos="0">
                  <a:srgbClr val="FEF000"/>
                </a:gs>
              </a:gsLst>
              <a:lin ang="5400000" scaled="1"/>
            </a:gradFill>
            <a:ln w="10795" cap="flat" cmpd="sng" algn="ctr">
              <a:solidFill>
                <a:srgbClr val="2A446F"/>
              </a:solidFill>
              <a:prstDash val="soli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mn-cs"/>
              </a:endParaRPr>
            </a:p>
          </p:txBody>
        </p:sp>
        <p:sp>
          <p:nvSpPr>
            <p:cNvPr id="144" name="TextBox 143">
              <a:extLst>
                <a:ext uri="{FF2B5EF4-FFF2-40B4-BE49-F238E27FC236}">
                  <a16:creationId xmlns:a16="http://schemas.microsoft.com/office/drawing/2014/main" id="{1776C668-09F7-F004-C2CD-15682EDB220C}"/>
                </a:ext>
              </a:extLst>
            </p:cNvPr>
            <p:cNvSpPr txBox="1"/>
            <p:nvPr/>
          </p:nvSpPr>
          <p:spPr>
            <a:xfrm>
              <a:off x="7407345" y="2545153"/>
              <a:ext cx="184731"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A446F"/>
                </a:solidFill>
                <a:effectLst/>
                <a:uLnTx/>
                <a:uFillTx/>
                <a:latin typeface="Segoe UI Semibold"/>
                <a:cs typeface="+mn-cs"/>
              </a:endParaRPr>
            </a:p>
          </p:txBody>
        </p:sp>
        <p:sp>
          <p:nvSpPr>
            <p:cNvPr id="145" name="TextBox 144">
              <a:extLst>
                <a:ext uri="{FF2B5EF4-FFF2-40B4-BE49-F238E27FC236}">
                  <a16:creationId xmlns:a16="http://schemas.microsoft.com/office/drawing/2014/main" id="{F584F974-6BF3-1286-8CEA-BEC7B46B9C21}"/>
                </a:ext>
              </a:extLst>
            </p:cNvPr>
            <p:cNvSpPr txBox="1"/>
            <p:nvPr/>
          </p:nvSpPr>
          <p:spPr>
            <a:xfrm>
              <a:off x="7239797" y="2528564"/>
              <a:ext cx="519694" cy="230832"/>
            </a:xfrm>
            <a:prstGeom prst="rect">
              <a:avLst/>
            </a:prstGeom>
            <a:noFill/>
          </p:spPr>
          <p:txBody>
            <a:bodyPr wrap="none" rtlCol="0" anchor="ctr">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A446F"/>
                  </a:solidFill>
                  <a:effectLst/>
                  <a:uLnTx/>
                  <a:uFillTx/>
                  <a:latin typeface="Segoe UI Semibold"/>
                  <a:cs typeface="+mn-cs"/>
                </a:rPr>
                <a:t>Tables</a:t>
              </a:r>
            </a:p>
          </p:txBody>
        </p:sp>
      </p:grpSp>
      <p:sp>
        <p:nvSpPr>
          <p:cNvPr id="146" name="Title 5">
            <a:extLst>
              <a:ext uri="{FF2B5EF4-FFF2-40B4-BE49-F238E27FC236}">
                <a16:creationId xmlns:a16="http://schemas.microsoft.com/office/drawing/2014/main" id="{6293DEB4-D1E4-11F2-F32D-F46EC3BE8C31}"/>
              </a:ext>
            </a:extLst>
          </p:cNvPr>
          <p:cNvSpPr txBox="1">
            <a:spLocks/>
          </p:cNvSpPr>
          <p:nvPr/>
        </p:nvSpPr>
        <p:spPr>
          <a:xfrm>
            <a:off x="795487" y="5648583"/>
            <a:ext cx="2479806" cy="369332"/>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fontAlgn="auto">
              <a:spcAft>
                <a:spcPts val="0"/>
              </a:spcAft>
            </a:pPr>
            <a:r>
              <a:rPr sz="2400">
                <a:solidFill>
                  <a:srgbClr val="107C10"/>
                </a:solidFill>
                <a:latin typeface="Segoe UI Semibold"/>
              </a:rPr>
              <a:t>Perfect!</a:t>
            </a:r>
          </a:p>
        </p:txBody>
      </p:sp>
      <p:sp>
        <p:nvSpPr>
          <p:cNvPr id="147" name="TextBox 146">
            <a:extLst>
              <a:ext uri="{FF2B5EF4-FFF2-40B4-BE49-F238E27FC236}">
                <a16:creationId xmlns:a16="http://schemas.microsoft.com/office/drawing/2014/main" id="{6C58393E-C9A1-721C-1E64-429E6BD6666C}"/>
              </a:ext>
            </a:extLst>
          </p:cNvPr>
          <p:cNvSpPr txBox="1"/>
          <p:nvPr/>
        </p:nvSpPr>
        <p:spPr>
          <a:xfrm>
            <a:off x="5034428" y="6078856"/>
            <a:ext cx="890052" cy="307777"/>
          </a:xfrm>
          <a:prstGeom prst="rect">
            <a:avLst/>
          </a:prstGeom>
          <a:noFill/>
        </p:spPr>
        <p:txBody>
          <a:bodyPr wrap="none" rtlCol="0">
            <a:spAutoFit/>
          </a:bodyPr>
          <a:lstStyle/>
          <a:p>
            <a:pPr algn="ctr" defTabSz="914367" fontAlgn="auto">
              <a:spcBef>
                <a:spcPts val="0"/>
              </a:spcBef>
              <a:spcAft>
                <a:spcPts val="0"/>
              </a:spcAft>
            </a:pPr>
            <a:r>
              <a:rPr lang="en-US" sz="1400" b="0">
                <a:solidFill>
                  <a:srgbClr val="2A446F"/>
                </a:solidFill>
                <a:latin typeface="Segoe UI Semibold"/>
                <a:cs typeface="+mn-cs"/>
              </a:rPr>
              <a:t>OneLake</a:t>
            </a:r>
          </a:p>
        </p:txBody>
      </p:sp>
    </p:spTree>
    <p:extLst>
      <p:ext uri="{BB962C8B-B14F-4D97-AF65-F5344CB8AC3E}">
        <p14:creationId xmlns:p14="http://schemas.microsoft.com/office/powerpoint/2010/main" val="22185362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a:xfrm>
            <a:off x="841612" y="799151"/>
            <a:ext cx="8642855" cy="1903106"/>
          </a:xfrm>
        </p:spPr>
        <p:txBody>
          <a:bodyPr/>
          <a:lstStyle/>
          <a:p>
            <a:r>
              <a:rPr lang="en-US" dirty="0"/>
              <a:t>data activator</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11609347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creenshot showing the Trigger Action option from a visual that displays daily sales.">
            <a:extLst>
              <a:ext uri="{FF2B5EF4-FFF2-40B4-BE49-F238E27FC236}">
                <a16:creationId xmlns:a16="http://schemas.microsoft.com/office/drawing/2014/main" id="{37D75268-6AF6-94C6-730E-02731886D4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0406" y="559689"/>
            <a:ext cx="5619716" cy="34514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creenshot showing the Create Alert dialog.">
            <a:extLst>
              <a:ext uri="{FF2B5EF4-FFF2-40B4-BE49-F238E27FC236}">
                <a16:creationId xmlns:a16="http://schemas.microsoft.com/office/drawing/2014/main" id="{9EEF89CD-8BAD-6320-338F-0197241CD2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9200" y="-22479"/>
            <a:ext cx="29178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7839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256A1F-413C-EE78-2D38-097E64FC6E2A}"/>
              </a:ext>
            </a:extLst>
          </p:cNvPr>
          <p:cNvPicPr>
            <a:picLocks noChangeAspect="1"/>
          </p:cNvPicPr>
          <p:nvPr/>
        </p:nvPicPr>
        <p:blipFill>
          <a:blip r:embed="rId2"/>
          <a:stretch>
            <a:fillRect/>
          </a:stretch>
        </p:blipFill>
        <p:spPr>
          <a:xfrm>
            <a:off x="2471487" y="0"/>
            <a:ext cx="7249026" cy="6858000"/>
          </a:xfrm>
          <a:prstGeom prst="rect">
            <a:avLst/>
          </a:prstGeom>
        </p:spPr>
      </p:pic>
    </p:spTree>
    <p:extLst>
      <p:ext uri="{BB962C8B-B14F-4D97-AF65-F5344CB8AC3E}">
        <p14:creationId xmlns:p14="http://schemas.microsoft.com/office/powerpoint/2010/main" val="955949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2DBAE4-0DED-7E2D-251E-3A12D293D13F}"/>
              </a:ext>
            </a:extLst>
          </p:cNvPr>
          <p:cNvPicPr>
            <a:picLocks noChangeAspect="1"/>
          </p:cNvPicPr>
          <p:nvPr/>
        </p:nvPicPr>
        <p:blipFill>
          <a:blip r:embed="rId2"/>
          <a:stretch>
            <a:fillRect/>
          </a:stretch>
        </p:blipFill>
        <p:spPr>
          <a:xfrm>
            <a:off x="6286889" y="2447232"/>
            <a:ext cx="415636" cy="415636"/>
          </a:xfrm>
          <a:prstGeom prst="rect">
            <a:avLst/>
          </a:prstGeom>
        </p:spPr>
      </p:pic>
      <p:pic>
        <p:nvPicPr>
          <p:cNvPr id="4" name="Graphic 3">
            <a:extLst>
              <a:ext uri="{FF2B5EF4-FFF2-40B4-BE49-F238E27FC236}">
                <a16:creationId xmlns:a16="http://schemas.microsoft.com/office/drawing/2014/main" id="{A0F63E70-B2F7-A11A-AD30-6CE29AA9CC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0692" y="2447232"/>
            <a:ext cx="415636" cy="415636"/>
          </a:xfrm>
          <a:prstGeom prst="rect">
            <a:avLst/>
          </a:prstGeom>
        </p:spPr>
      </p:pic>
      <p:pic>
        <p:nvPicPr>
          <p:cNvPr id="5" name="Graphic 4">
            <a:extLst>
              <a:ext uri="{FF2B5EF4-FFF2-40B4-BE49-F238E27FC236}">
                <a16:creationId xmlns:a16="http://schemas.microsoft.com/office/drawing/2014/main" id="{8A3556D8-0BE2-9C37-F72A-6D5B29D8F4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38972" y="2428339"/>
            <a:ext cx="453422" cy="453422"/>
          </a:xfrm>
          <a:prstGeom prst="rect">
            <a:avLst/>
          </a:prstGeom>
        </p:spPr>
      </p:pic>
      <p:pic>
        <p:nvPicPr>
          <p:cNvPr id="6" name="chart" descr="chart">
            <a:extLst>
              <a:ext uri="{FF2B5EF4-FFF2-40B4-BE49-F238E27FC236}">
                <a16:creationId xmlns:a16="http://schemas.microsoft.com/office/drawing/2014/main" id="{3D928940-997C-5145-BACB-5BB86C818D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13778" y="2428340"/>
            <a:ext cx="453422" cy="453420"/>
          </a:xfrm>
          <a:prstGeom prst="rect">
            <a:avLst/>
          </a:prstGeom>
        </p:spPr>
      </p:pic>
      <p:pic>
        <p:nvPicPr>
          <p:cNvPr id="7" name="Graphic 6">
            <a:extLst>
              <a:ext uri="{FF2B5EF4-FFF2-40B4-BE49-F238E27FC236}">
                <a16:creationId xmlns:a16="http://schemas.microsoft.com/office/drawing/2014/main" id="{0C7E64AC-C445-6FA4-684F-BFF7AF17DB8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03759" y="2395972"/>
            <a:ext cx="518156" cy="518156"/>
          </a:xfrm>
          <a:prstGeom prst="rect">
            <a:avLst/>
          </a:prstGeom>
        </p:spPr>
      </p:pic>
      <p:pic>
        <p:nvPicPr>
          <p:cNvPr id="8" name="!!datascienceicon">
            <a:extLst>
              <a:ext uri="{FF2B5EF4-FFF2-40B4-BE49-F238E27FC236}">
                <a16:creationId xmlns:a16="http://schemas.microsoft.com/office/drawing/2014/main" id="{3CB5F1CE-0629-8AB3-E6AE-30C887CD7E03}"/>
              </a:ext>
            </a:extLst>
          </p:cNvPr>
          <p:cNvPicPr>
            <a:picLocks noChangeAspect="1"/>
          </p:cNvPicPr>
          <p:nvPr/>
        </p:nvPicPr>
        <p:blipFill rotWithShape="1">
          <a:blip r:embed="rId11">
            <a:extLst>
              <a:ext uri="{28A0092B-C50C-407E-A947-70E740481C1C}">
                <a14:useLocalDpi xmlns:a14="http://schemas.microsoft.com/office/drawing/2010/main" val="0"/>
              </a:ext>
            </a:extLst>
          </a:blip>
          <a:srcRect l="-6889" b="-12271"/>
          <a:stretch/>
        </p:blipFill>
        <p:spPr>
          <a:xfrm>
            <a:off x="7506034" y="2401699"/>
            <a:ext cx="463239" cy="506703"/>
          </a:xfrm>
          <a:prstGeom prst="rect">
            <a:avLst/>
          </a:prstGeom>
          <a:ln w="10108" cap="flat">
            <a:noFill/>
            <a:prstDash val="solid"/>
            <a:miter/>
          </a:ln>
        </p:spPr>
      </p:pic>
      <p:pic>
        <p:nvPicPr>
          <p:cNvPr id="9" name="Picture 8">
            <a:extLst>
              <a:ext uri="{FF2B5EF4-FFF2-40B4-BE49-F238E27FC236}">
                <a16:creationId xmlns:a16="http://schemas.microsoft.com/office/drawing/2014/main" id="{35E28F20-7DD6-249F-B300-3090CAEBF357}"/>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498611" y="2430024"/>
            <a:ext cx="547890" cy="450053"/>
          </a:xfrm>
          <a:prstGeom prst="rect">
            <a:avLst/>
          </a:prstGeom>
        </p:spPr>
      </p:pic>
      <p:sp>
        <p:nvSpPr>
          <p:cNvPr id="10" name="TextBox 9">
            <a:extLst>
              <a:ext uri="{FF2B5EF4-FFF2-40B4-BE49-F238E27FC236}">
                <a16:creationId xmlns:a16="http://schemas.microsoft.com/office/drawing/2014/main" id="{065F876A-0E05-8047-0075-0D592C2C549A}"/>
              </a:ext>
            </a:extLst>
          </p:cNvPr>
          <p:cNvSpPr txBox="1"/>
          <p:nvPr/>
        </p:nvSpPr>
        <p:spPr>
          <a:xfrm>
            <a:off x="1039354" y="3063971"/>
            <a:ext cx="1098313" cy="553998"/>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Data</a:t>
            </a:r>
            <a:br>
              <a:rPr lang="en-US" sz="1800" b="1" kern="1000" spc="-50">
                <a:solidFill>
                  <a:srgbClr val="000000"/>
                </a:solidFill>
                <a:latin typeface="Segoe UI Semibold"/>
              </a:rPr>
            </a:br>
            <a:r>
              <a:rPr lang="en-US" sz="1800" b="1" kern="1000" spc="-50">
                <a:solidFill>
                  <a:srgbClr val="000000"/>
                </a:solidFill>
                <a:latin typeface="Segoe UI Semibold"/>
              </a:rPr>
              <a:t>Integration</a:t>
            </a:r>
          </a:p>
        </p:txBody>
      </p:sp>
      <p:sp>
        <p:nvSpPr>
          <p:cNvPr id="11" name="TextBox 10">
            <a:extLst>
              <a:ext uri="{FF2B5EF4-FFF2-40B4-BE49-F238E27FC236}">
                <a16:creationId xmlns:a16="http://schemas.microsoft.com/office/drawing/2014/main" id="{F4F2A70A-DB83-39A7-90F3-2D960993AB53}"/>
              </a:ext>
            </a:extLst>
          </p:cNvPr>
          <p:cNvSpPr txBox="1"/>
          <p:nvPr/>
        </p:nvSpPr>
        <p:spPr>
          <a:xfrm>
            <a:off x="4509313" y="3063971"/>
            <a:ext cx="1112741" cy="553998"/>
          </a:xfrm>
          <a:prstGeom prst="rect">
            <a:avLst/>
          </a:prstGeom>
          <a:noFill/>
        </p:spPr>
        <p:txBody>
          <a:bodyPr wrap="none" lIns="0" tIns="0" rIns="0" bIns="0">
            <a:spAutoFit/>
          </a:bodyPr>
          <a:lstStyle/>
          <a:p>
            <a:pPr algn="ctr" defTabSz="914400">
              <a:defRPr/>
            </a:pPr>
            <a:r>
              <a:rPr lang="en-US" sz="1800" b="1" kern="1000" spc="-50" dirty="0">
                <a:solidFill>
                  <a:srgbClr val="000000"/>
                </a:solidFill>
                <a:latin typeface="Segoe UI Semibold"/>
              </a:rPr>
              <a:t>Data</a:t>
            </a:r>
          </a:p>
          <a:p>
            <a:pPr algn="ctr" defTabSz="914400">
              <a:defRPr/>
            </a:pPr>
            <a:r>
              <a:rPr lang="en-US" sz="1800" b="1" kern="1000" spc="-50" dirty="0">
                <a:solidFill>
                  <a:srgbClr val="000000"/>
                </a:solidFill>
                <a:latin typeface="Segoe UI Semibold"/>
              </a:rPr>
              <a:t>Warehouse</a:t>
            </a:r>
          </a:p>
        </p:txBody>
      </p:sp>
      <p:sp>
        <p:nvSpPr>
          <p:cNvPr id="12" name="TextBox 11">
            <a:extLst>
              <a:ext uri="{FF2B5EF4-FFF2-40B4-BE49-F238E27FC236}">
                <a16:creationId xmlns:a16="http://schemas.microsoft.com/office/drawing/2014/main" id="{561580C7-FB6D-3E71-3045-09CCB1DAFC68}"/>
              </a:ext>
            </a:extLst>
          </p:cNvPr>
          <p:cNvSpPr txBox="1"/>
          <p:nvPr/>
        </p:nvSpPr>
        <p:spPr>
          <a:xfrm>
            <a:off x="5982998" y="3063971"/>
            <a:ext cx="1023418" cy="553998"/>
          </a:xfrm>
          <a:prstGeom prst="rect">
            <a:avLst/>
          </a:prstGeom>
          <a:noFill/>
        </p:spPr>
        <p:txBody>
          <a:bodyPr wrap="square" lIns="0" tIns="0" rIns="0" bIns="0">
            <a:spAutoFit/>
          </a:bodyPr>
          <a:lstStyle/>
          <a:p>
            <a:pPr algn="ctr" defTabSz="914400">
              <a:defRPr/>
            </a:pPr>
            <a:r>
              <a:rPr lang="en-US" sz="1800" b="1" kern="1000" spc="-50">
                <a:solidFill>
                  <a:srgbClr val="000000"/>
                </a:solidFill>
                <a:latin typeface="Segoe UI Semibold"/>
              </a:rPr>
              <a:t>Real Time Analytics</a:t>
            </a:r>
          </a:p>
        </p:txBody>
      </p:sp>
      <p:sp>
        <p:nvSpPr>
          <p:cNvPr id="13" name="TextBox 12">
            <a:extLst>
              <a:ext uri="{FF2B5EF4-FFF2-40B4-BE49-F238E27FC236}">
                <a16:creationId xmlns:a16="http://schemas.microsoft.com/office/drawing/2014/main" id="{83EA7254-2AD6-BFFA-6327-2ED75B6DA101}"/>
              </a:ext>
            </a:extLst>
          </p:cNvPr>
          <p:cNvSpPr txBox="1"/>
          <p:nvPr/>
        </p:nvSpPr>
        <p:spPr>
          <a:xfrm>
            <a:off x="8468891" y="3063971"/>
            <a:ext cx="1143197" cy="553998"/>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Business</a:t>
            </a:r>
          </a:p>
          <a:p>
            <a:pPr algn="ctr" defTabSz="914400">
              <a:defRPr/>
            </a:pPr>
            <a:r>
              <a:rPr lang="en-US" sz="1800" b="1" kern="1000" spc="-50">
                <a:solidFill>
                  <a:srgbClr val="000000"/>
                </a:solidFill>
                <a:latin typeface="Segoe UI Semibold"/>
              </a:rPr>
              <a:t>Intelligence</a:t>
            </a:r>
          </a:p>
        </p:txBody>
      </p:sp>
      <p:sp>
        <p:nvSpPr>
          <p:cNvPr id="14" name="TextBox 13">
            <a:extLst>
              <a:ext uri="{FF2B5EF4-FFF2-40B4-BE49-F238E27FC236}">
                <a16:creationId xmlns:a16="http://schemas.microsoft.com/office/drawing/2014/main" id="{A6782309-1358-AED6-7884-DEA9AF5F71B3}"/>
              </a:ext>
            </a:extLst>
          </p:cNvPr>
          <p:cNvSpPr txBox="1"/>
          <p:nvPr/>
        </p:nvSpPr>
        <p:spPr>
          <a:xfrm>
            <a:off x="7367360" y="3063971"/>
            <a:ext cx="740587" cy="553998"/>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Data</a:t>
            </a:r>
          </a:p>
          <a:p>
            <a:pPr algn="ctr" defTabSz="914400">
              <a:defRPr/>
            </a:pPr>
            <a:r>
              <a:rPr lang="en-US" sz="1800" b="1" kern="1000" spc="-50">
                <a:solidFill>
                  <a:srgbClr val="000000"/>
                </a:solidFill>
                <a:latin typeface="Segoe UI Semibold"/>
              </a:rPr>
              <a:t>Science</a:t>
            </a:r>
          </a:p>
        </p:txBody>
      </p:sp>
      <p:sp>
        <p:nvSpPr>
          <p:cNvPr id="15" name="!!datalake">
            <a:extLst>
              <a:ext uri="{FF2B5EF4-FFF2-40B4-BE49-F238E27FC236}">
                <a16:creationId xmlns:a16="http://schemas.microsoft.com/office/drawing/2014/main" id="{53EB4D92-E642-C463-02DC-E53E7ACAF8C3}"/>
              </a:ext>
            </a:extLst>
          </p:cNvPr>
          <p:cNvSpPr txBox="1"/>
          <p:nvPr/>
        </p:nvSpPr>
        <p:spPr>
          <a:xfrm>
            <a:off x="2512069" y="3063971"/>
            <a:ext cx="520975" cy="553998"/>
          </a:xfrm>
          <a:prstGeom prst="rect">
            <a:avLst/>
          </a:prstGeom>
          <a:noFill/>
        </p:spPr>
        <p:txBody>
          <a:bodyPr wrap="none" lIns="0" tIns="0" rIns="0" bIns="0">
            <a:spAutoFit/>
          </a:bodyPr>
          <a:lstStyle>
            <a:defPPr>
              <a:defRPr lang="en-US"/>
            </a:defPPr>
            <a:lvl1pPr algn="ctr">
              <a:defRPr sz="2400" b="1" kern="1000" spc="-50">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000" cap="none" spc="-50" normalizeH="0" baseline="0" noProof="0">
                <a:ln>
                  <a:noFill/>
                </a:ln>
                <a:solidFill>
                  <a:srgbClr val="000000"/>
                </a:solidFill>
                <a:effectLst/>
                <a:uLnTx/>
                <a:uFillTx/>
                <a:latin typeface="Segoe UI Semibold"/>
              </a:rPr>
              <a:t>Data </a:t>
            </a:r>
            <a:br>
              <a:rPr kumimoji="0" lang="en-US" sz="1800" b="1" i="0" u="none" strike="noStrike" kern="1000" cap="none" spc="-50" normalizeH="0" baseline="0" noProof="0">
                <a:ln>
                  <a:noFill/>
                </a:ln>
                <a:solidFill>
                  <a:srgbClr val="000000"/>
                </a:solidFill>
                <a:effectLst/>
                <a:uLnTx/>
                <a:uFillTx/>
                <a:latin typeface="Segoe UI Semibold"/>
              </a:rPr>
            </a:br>
            <a:r>
              <a:rPr kumimoji="0" lang="en-US" sz="1800" b="1" i="0" u="none" strike="noStrike" kern="1000" cap="none" spc="-50" normalizeH="0" baseline="0" noProof="0">
                <a:ln>
                  <a:noFill/>
                </a:ln>
                <a:solidFill>
                  <a:srgbClr val="000000"/>
                </a:solidFill>
                <a:effectLst/>
                <a:uLnTx/>
                <a:uFillTx/>
                <a:latin typeface="Segoe UI Semibold"/>
              </a:rPr>
              <a:t>Lake</a:t>
            </a:r>
          </a:p>
        </p:txBody>
      </p:sp>
      <p:sp>
        <p:nvSpPr>
          <p:cNvPr id="16" name="TextBox 15">
            <a:extLst>
              <a:ext uri="{FF2B5EF4-FFF2-40B4-BE49-F238E27FC236}">
                <a16:creationId xmlns:a16="http://schemas.microsoft.com/office/drawing/2014/main" id="{924D7AA5-FB6F-7778-B44A-F73AF167D54F}"/>
              </a:ext>
            </a:extLst>
          </p:cNvPr>
          <p:cNvSpPr txBox="1"/>
          <p:nvPr/>
        </p:nvSpPr>
        <p:spPr>
          <a:xfrm>
            <a:off x="9973029" y="3063971"/>
            <a:ext cx="1179617" cy="276999"/>
          </a:xfrm>
          <a:prstGeom prst="rect">
            <a:avLst/>
          </a:prstGeom>
          <a:noFill/>
        </p:spPr>
        <p:txBody>
          <a:bodyPr wrap="none" lIns="0" tIns="0" rIns="0" bIns="0">
            <a:spAutoFit/>
          </a:bodyPr>
          <a:lstStyle/>
          <a:p>
            <a:pPr algn="ctr" defTabSz="914400">
              <a:defRPr/>
            </a:pPr>
            <a:r>
              <a:rPr lang="en-US" sz="1800" b="1" kern="1000" spc="-50">
                <a:solidFill>
                  <a:srgbClr val="000000"/>
                </a:solidFill>
                <a:latin typeface="Segoe UI Semibold"/>
              </a:rPr>
              <a:t>Governance</a:t>
            </a:r>
          </a:p>
        </p:txBody>
      </p:sp>
      <p:sp>
        <p:nvSpPr>
          <p:cNvPr id="17" name="TextBox 16">
            <a:extLst>
              <a:ext uri="{FF2B5EF4-FFF2-40B4-BE49-F238E27FC236}">
                <a16:creationId xmlns:a16="http://schemas.microsoft.com/office/drawing/2014/main" id="{C47C97E1-5CB7-5C4E-7A0D-3ACEF432B466}"/>
              </a:ext>
            </a:extLst>
          </p:cNvPr>
          <p:cNvSpPr txBox="1"/>
          <p:nvPr/>
        </p:nvSpPr>
        <p:spPr>
          <a:xfrm>
            <a:off x="3380530" y="3063971"/>
            <a:ext cx="767839" cy="553998"/>
          </a:xfrm>
          <a:prstGeom prst="rect">
            <a:avLst/>
          </a:prstGeom>
          <a:noFill/>
        </p:spPr>
        <p:txBody>
          <a:bodyPr wrap="none" lIns="0" tIns="0" rIns="0" bIns="0">
            <a:spAutoFit/>
          </a:bodyPr>
          <a:lstStyle>
            <a:defPPr>
              <a:defRPr lang="en-US"/>
            </a:defPPr>
            <a:lvl1pPr algn="ctr">
              <a:defRPr sz="2400" b="1" kern="1000" spc="-50">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000" cap="none" spc="-50" normalizeH="0" baseline="0" noProof="0">
                <a:ln>
                  <a:noFill/>
                </a:ln>
                <a:solidFill>
                  <a:srgbClr val="000000"/>
                </a:solidFill>
                <a:effectLst/>
                <a:uLnTx/>
                <a:uFillTx/>
                <a:latin typeface="Segoe UI Semibold"/>
              </a:rPr>
              <a:t>Spark</a:t>
            </a:r>
            <a:br>
              <a:rPr kumimoji="0" lang="en-US" sz="1800" b="1" i="0" u="none" strike="noStrike" kern="1000" cap="none" spc="-50" normalizeH="0" baseline="0" noProof="0">
                <a:ln>
                  <a:noFill/>
                </a:ln>
                <a:solidFill>
                  <a:srgbClr val="000000"/>
                </a:solidFill>
                <a:effectLst/>
                <a:uLnTx/>
                <a:uFillTx/>
                <a:latin typeface="Segoe UI Semibold"/>
              </a:rPr>
            </a:br>
            <a:r>
              <a:rPr kumimoji="0" lang="en-US" sz="1800" b="1" i="0" u="none" strike="noStrike" kern="1000" cap="none" spc="-50" normalizeH="0" baseline="0" noProof="0">
                <a:ln>
                  <a:noFill/>
                </a:ln>
                <a:solidFill>
                  <a:srgbClr val="000000"/>
                </a:solidFill>
                <a:effectLst/>
                <a:uLnTx/>
                <a:uFillTx/>
                <a:latin typeface="Segoe UI Semibold"/>
              </a:rPr>
              <a:t>Engines</a:t>
            </a:r>
          </a:p>
        </p:txBody>
      </p:sp>
      <p:pic>
        <p:nvPicPr>
          <p:cNvPr id="18" name="Picture 17">
            <a:extLst>
              <a:ext uri="{FF2B5EF4-FFF2-40B4-BE49-F238E27FC236}">
                <a16:creationId xmlns:a16="http://schemas.microsoft.com/office/drawing/2014/main" id="{1C722A54-7007-01B9-63AB-E88E1D17B9A2}"/>
              </a:ext>
            </a:extLst>
          </p:cNvPr>
          <p:cNvPicPr>
            <a:picLocks noChangeAspect="1"/>
          </p:cNvPicPr>
          <p:nvPr/>
        </p:nvPicPr>
        <p:blipFill>
          <a:blip r:embed="rId13"/>
          <a:stretch>
            <a:fillRect/>
          </a:stretch>
        </p:blipFill>
        <p:spPr>
          <a:xfrm>
            <a:off x="3400072" y="2465371"/>
            <a:ext cx="730124" cy="379359"/>
          </a:xfrm>
          <a:prstGeom prst="rect">
            <a:avLst/>
          </a:prstGeom>
        </p:spPr>
      </p:pic>
      <p:sp>
        <p:nvSpPr>
          <p:cNvPr id="19" name="Title 6">
            <a:extLst>
              <a:ext uri="{FF2B5EF4-FFF2-40B4-BE49-F238E27FC236}">
                <a16:creationId xmlns:a16="http://schemas.microsoft.com/office/drawing/2014/main" id="{C27135B0-8E74-C1C1-68C9-788FD688C7ED}"/>
              </a:ext>
            </a:extLst>
          </p:cNvPr>
          <p:cNvSpPr txBox="1">
            <a:spLocks/>
          </p:cNvSpPr>
          <p:nvPr/>
        </p:nvSpPr>
        <p:spPr>
          <a:xfrm>
            <a:off x="582614" y="110002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117865"/>
                </a:solidFill>
                <a:effectLst/>
                <a:uLnTx/>
                <a:uFillTx/>
                <a:latin typeface="Segoe UI Semibold"/>
                <a:ea typeface="+mn-ea"/>
                <a:cs typeface="Segoe UI" pitchFamily="34" charset="0"/>
              </a:rPr>
              <a:t>Microsoft Fabric</a:t>
            </a:r>
          </a:p>
        </p:txBody>
      </p:sp>
      <p:sp>
        <p:nvSpPr>
          <p:cNvPr id="20" name="!!Line1">
            <a:extLst>
              <a:ext uri="{FF2B5EF4-FFF2-40B4-BE49-F238E27FC236}">
                <a16:creationId xmlns:a16="http://schemas.microsoft.com/office/drawing/2014/main" id="{53CD878A-F640-80E3-0529-4FE110F39B68}"/>
              </a:ext>
            </a:extLst>
          </p:cNvPr>
          <p:cNvSpPr/>
          <p:nvPr/>
        </p:nvSpPr>
        <p:spPr bwMode="auto">
          <a:xfrm rot="16200000">
            <a:off x="4916776" y="-2109122"/>
            <a:ext cx="2358448" cy="11026772"/>
          </a:xfrm>
          <a:prstGeom prst="roundRect">
            <a:avLst>
              <a:gd name="adj" fmla="val 23291"/>
            </a:avLst>
          </a:prstGeom>
          <a:noFill/>
          <a:ln w="9525" cap="flat" cmpd="sng" algn="ctr">
            <a:gradFill flip="none" rotWithShape="1">
              <a:gsLst>
                <a:gs pos="0">
                  <a:srgbClr val="0078D4"/>
                </a:gs>
                <a:gs pos="100000">
                  <a:srgbClr val="FFFFFF">
                    <a:alpha val="0"/>
                  </a:srgbClr>
                </a:gs>
                <a:gs pos="7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TextBox 20">
            <a:extLst>
              <a:ext uri="{FF2B5EF4-FFF2-40B4-BE49-F238E27FC236}">
                <a16:creationId xmlns:a16="http://schemas.microsoft.com/office/drawing/2014/main" id="{B5265A9E-2475-2077-12F2-CC0B758572EB}"/>
              </a:ext>
            </a:extLst>
          </p:cNvPr>
          <p:cNvSpPr txBox="1"/>
          <p:nvPr/>
        </p:nvSpPr>
        <p:spPr>
          <a:xfrm>
            <a:off x="3649816" y="4240446"/>
            <a:ext cx="4892365" cy="553998"/>
          </a:xfrm>
          <a:prstGeom prst="rect">
            <a:avLst/>
          </a:prstGeom>
          <a:solidFill>
            <a:srgbClr val="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78D4"/>
                </a:solidFill>
                <a:effectLst/>
                <a:uLnTx/>
                <a:uFillTx/>
                <a:latin typeface="Segoe UI Semibold"/>
                <a:cs typeface="Segoe UI" panose="020B0502040204020203" pitchFamily="34" charset="0"/>
              </a:rPr>
              <a:t>Unified analytics fabric</a:t>
            </a:r>
          </a:p>
        </p:txBody>
      </p:sp>
      <p:sp>
        <p:nvSpPr>
          <p:cNvPr id="22" name="Text Placeholder 3">
            <a:extLst>
              <a:ext uri="{FF2B5EF4-FFF2-40B4-BE49-F238E27FC236}">
                <a16:creationId xmlns:a16="http://schemas.microsoft.com/office/drawing/2014/main" id="{2C1D00C5-1027-BDCB-B8CE-804B7CCD2DB6}"/>
              </a:ext>
            </a:extLst>
          </p:cNvPr>
          <p:cNvSpPr txBox="1">
            <a:spLocks/>
          </p:cNvSpPr>
          <p:nvPr/>
        </p:nvSpPr>
        <p:spPr>
          <a:xfrm>
            <a:off x="552450" y="4892531"/>
            <a:ext cx="11087100" cy="76431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0">
                      <a:schemeClr val="accent2"/>
                    </a:gs>
                    <a:gs pos="100000">
                      <a:schemeClr val="tx2"/>
                    </a:gs>
                  </a:gsLst>
                  <a:lin ang="2700000" scaled="0"/>
                </a:gra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defRPr/>
            </a:pPr>
            <a:r>
              <a:rPr lang="en-US" sz="2400" b="0" dirty="0">
                <a:solidFill>
                  <a:srgbClr val="000000"/>
                </a:solidFill>
                <a:latin typeface="+mn-lt"/>
              </a:rPr>
              <a:t>End-to-end analytics data fabric </a:t>
            </a:r>
          </a:p>
          <a:p>
            <a:pPr>
              <a:spcBef>
                <a:spcPts val="200"/>
              </a:spcBef>
              <a:defRPr/>
            </a:pPr>
            <a:r>
              <a:rPr lang="en-US" sz="2400" b="0" dirty="0">
                <a:solidFill>
                  <a:srgbClr val="000000"/>
                </a:solidFill>
                <a:latin typeface="+mn-lt"/>
              </a:rPr>
              <a:t>From the data lake to the business user</a:t>
            </a:r>
          </a:p>
        </p:txBody>
      </p:sp>
    </p:spTree>
    <p:extLst>
      <p:ext uri="{BB962C8B-B14F-4D97-AF65-F5344CB8AC3E}">
        <p14:creationId xmlns:p14="http://schemas.microsoft.com/office/powerpoint/2010/main" val="1414474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grpId="1" nodeType="withEffect">
                                  <p:stCondLst>
                                    <p:cond delay="100"/>
                                  </p:stCondLst>
                                  <p:childTnLst>
                                    <p:animMotion origin="layout" path="M 0 -1.48148E-6 L 0 0.03472 " pathEditMode="relative" rAng="0" ptsTypes="AA">
                                      <p:cBhvr>
                                        <p:cTn id="9" dur="750" spd="-100000" fill="hold"/>
                                        <p:tgtEl>
                                          <p:spTgt spid="22"/>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26A323-ADFE-A02B-E06E-9E5FC358A01F}"/>
              </a:ext>
            </a:extLst>
          </p:cNvPr>
          <p:cNvSpPr>
            <a:spLocks noGrp="1"/>
          </p:cNvSpPr>
          <p:nvPr>
            <p:ph type="ctrTitle"/>
          </p:nvPr>
        </p:nvSpPr>
        <p:spPr>
          <a:xfrm>
            <a:off x="841612" y="799151"/>
            <a:ext cx="8642855" cy="1903106"/>
          </a:xfrm>
        </p:spPr>
        <p:txBody>
          <a:bodyPr/>
          <a:lstStyle/>
          <a:p>
            <a:r>
              <a:rPr lang="en-US" dirty="0"/>
              <a:t>pricing</a:t>
            </a:r>
            <a:endParaRPr lang="nl-BE" dirty="0"/>
          </a:p>
        </p:txBody>
      </p:sp>
      <p:sp>
        <p:nvSpPr>
          <p:cNvPr id="4" name="Subtitle 3">
            <a:extLst>
              <a:ext uri="{FF2B5EF4-FFF2-40B4-BE49-F238E27FC236}">
                <a16:creationId xmlns:a16="http://schemas.microsoft.com/office/drawing/2014/main" id="{3C6AC153-25A0-2525-2321-761831C6E718}"/>
              </a:ext>
            </a:extLst>
          </p:cNvPr>
          <p:cNvSpPr>
            <a:spLocks noGrp="1"/>
          </p:cNvSpPr>
          <p:nvPr>
            <p:ph type="subTitle" idx="1"/>
          </p:nvPr>
        </p:nvSpPr>
        <p:spPr/>
        <p:txBody>
          <a:bodyPr/>
          <a:lstStyle/>
          <a:p>
            <a:endParaRPr lang="nl-BE"/>
          </a:p>
        </p:txBody>
      </p:sp>
    </p:spTree>
    <p:extLst>
      <p:ext uri="{BB962C8B-B14F-4D97-AF65-F5344CB8AC3E}">
        <p14:creationId xmlns:p14="http://schemas.microsoft.com/office/powerpoint/2010/main" val="4852149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a:xfrm>
            <a:off x="838200" y="1008955"/>
            <a:ext cx="10515600" cy="2420045"/>
          </a:xfrm>
        </p:spPr>
        <p:txBody>
          <a:bodyPr>
            <a:normAutofit/>
          </a:bodyPr>
          <a:lstStyle/>
          <a:p>
            <a:pPr marL="0" indent="0">
              <a:buNone/>
            </a:pPr>
            <a:r>
              <a:rPr lang="en-US" sz="7200" dirty="0"/>
              <a:t>with Fabric the sky is the limit!</a:t>
            </a:r>
            <a:endParaRPr lang="nl-BE" sz="7200" b="1" dirty="0"/>
          </a:p>
        </p:txBody>
      </p:sp>
      <p:sp>
        <p:nvSpPr>
          <p:cNvPr id="2" name="Content Placeholder 12">
            <a:extLst>
              <a:ext uri="{FF2B5EF4-FFF2-40B4-BE49-F238E27FC236}">
                <a16:creationId xmlns:a16="http://schemas.microsoft.com/office/drawing/2014/main" id="{099D1E64-75BA-15B3-6C12-FC64A3D758C5}"/>
              </a:ext>
            </a:extLst>
          </p:cNvPr>
          <p:cNvSpPr txBox="1">
            <a:spLocks/>
          </p:cNvSpPr>
          <p:nvPr/>
        </p:nvSpPr>
        <p:spPr>
          <a:xfrm>
            <a:off x="838200" y="3672907"/>
            <a:ext cx="10515600" cy="3185093"/>
          </a:xfrm>
          <a:prstGeom prst="rect">
            <a:avLst/>
          </a:prstGeom>
        </p:spPr>
        <p:txBody>
          <a:bodyPr vert="horz" lIns="91440" tIns="45720" rIns="91440" bIns="45720" rtlCol="0">
            <a:normAutofit/>
          </a:bodyPr>
          <a:lstStyle>
            <a:lvl1pPr marL="468000" indent="-468000" algn="l" defTabSz="914400" rtl="0" eaLnBrk="1" latinLnBrk="0" hangingPunct="1">
              <a:lnSpc>
                <a:spcPct val="90000"/>
              </a:lnSpc>
              <a:spcBef>
                <a:spcPts val="1000"/>
              </a:spcBef>
              <a:buClr>
                <a:schemeClr val="accent2"/>
              </a:buClr>
              <a:buFontTx/>
              <a:buBlip>
                <a:blip r:embed="rId2">
                  <a:extLst>
                    <a:ext uri="{96DAC541-7B7A-43D3-8B79-37D633B846F1}">
                      <asvg:svgBlip xmlns:asvg="http://schemas.microsoft.com/office/drawing/2016/SVG/main" r:embed="rId3"/>
                    </a:ext>
                  </a:extLst>
                </a:blip>
              </a:buBlip>
              <a:defRPr sz="2400" kern="1200">
                <a:solidFill>
                  <a:schemeClr val="tx1"/>
                </a:solidFill>
                <a:latin typeface="+mn-lt"/>
                <a:ea typeface="+mn-ea"/>
                <a:cs typeface="+mn-cs"/>
              </a:defRPr>
            </a:lvl1pPr>
            <a:lvl2pPr marL="900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2000" kern="1200">
                <a:solidFill>
                  <a:schemeClr val="tx1"/>
                </a:solidFill>
                <a:latin typeface="+mn-lt"/>
                <a:ea typeface="+mn-ea"/>
                <a:cs typeface="+mn-cs"/>
              </a:defRPr>
            </a:lvl2pPr>
            <a:lvl3pPr marL="1332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1800" kern="1200">
                <a:solidFill>
                  <a:schemeClr val="tx1"/>
                </a:solidFill>
                <a:latin typeface="+mn-lt"/>
                <a:ea typeface="+mn-ea"/>
                <a:cs typeface="+mn-cs"/>
              </a:defRPr>
            </a:lvl3pPr>
            <a:lvl4pPr marL="1764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1600" kern="1200">
                <a:solidFill>
                  <a:srgbClr val="191919"/>
                </a:solidFill>
                <a:latin typeface="+mn-lt"/>
                <a:ea typeface="+mn-ea"/>
                <a:cs typeface="+mn-cs"/>
              </a:defRPr>
            </a:lvl4pPr>
            <a:lvl5pPr marL="2196000" indent="-432000" algn="l" defTabSz="914400" rtl="0" eaLnBrk="1" latinLnBrk="0" hangingPunct="1">
              <a:lnSpc>
                <a:spcPct val="90000"/>
              </a:lnSpc>
              <a:spcBef>
                <a:spcPts val="500"/>
              </a:spcBef>
              <a:buClr>
                <a:schemeClr val="accent2"/>
              </a:buClr>
              <a:buFontTx/>
              <a:buBlip>
                <a:blip r:embed="rId2">
                  <a:extLst>
                    <a:ext uri="{96DAC541-7B7A-43D3-8B79-37D633B846F1}">
                      <asvg:svgBlip xmlns:asvg="http://schemas.microsoft.com/office/drawing/2016/SVG/main" r:embed="rId3"/>
                    </a:ext>
                  </a:extLst>
                </a:blip>
              </a:buBlip>
              <a:defRPr sz="16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Tx/>
              <a:buNone/>
            </a:pPr>
            <a:r>
              <a:rPr lang="en-US" sz="7200" b="0" dirty="0"/>
              <a:t>… as long as your wallet doesn’t have a limit</a:t>
            </a:r>
            <a:endParaRPr lang="nl-BE" sz="7200" b="1" dirty="0"/>
          </a:p>
        </p:txBody>
      </p:sp>
    </p:spTree>
    <p:extLst>
      <p:ext uri="{BB962C8B-B14F-4D97-AF65-F5344CB8AC3E}">
        <p14:creationId xmlns:p14="http://schemas.microsoft.com/office/powerpoint/2010/main" val="409332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11568771-3744-A1D1-475B-7DB0F8AABD15}"/>
              </a:ext>
            </a:extLst>
          </p:cNvPr>
          <p:cNvGraphicFramePr>
            <a:graphicFrameLocks noGrp="1"/>
          </p:cNvGraphicFramePr>
          <p:nvPr>
            <p:extLst>
              <p:ext uri="{D42A27DB-BD31-4B8C-83A1-F6EECF244321}">
                <p14:modId xmlns:p14="http://schemas.microsoft.com/office/powerpoint/2010/main" val="3705961889"/>
              </p:ext>
            </p:extLst>
          </p:nvPr>
        </p:nvGraphicFramePr>
        <p:xfrm>
          <a:off x="2552192" y="939800"/>
          <a:ext cx="7087616" cy="4978400"/>
        </p:xfrm>
        <a:graphic>
          <a:graphicData uri="http://schemas.openxmlformats.org/drawingml/2006/table">
            <a:tbl>
              <a:tblPr firstRow="1" bandRow="1">
                <a:tableStyleId>{5C22544A-7EE6-4342-B048-85BDC9FD1C3A}</a:tableStyleId>
              </a:tblPr>
              <a:tblGrid>
                <a:gridCol w="1113536">
                  <a:extLst>
                    <a:ext uri="{9D8B030D-6E8A-4147-A177-3AD203B41FA5}">
                      <a16:colId xmlns:a16="http://schemas.microsoft.com/office/drawing/2014/main" val="2327844345"/>
                    </a:ext>
                  </a:extLst>
                </a:gridCol>
                <a:gridCol w="1389888">
                  <a:extLst>
                    <a:ext uri="{9D8B030D-6E8A-4147-A177-3AD203B41FA5}">
                      <a16:colId xmlns:a16="http://schemas.microsoft.com/office/drawing/2014/main" val="596994723"/>
                    </a:ext>
                  </a:extLst>
                </a:gridCol>
                <a:gridCol w="2072640">
                  <a:extLst>
                    <a:ext uri="{9D8B030D-6E8A-4147-A177-3AD203B41FA5}">
                      <a16:colId xmlns:a16="http://schemas.microsoft.com/office/drawing/2014/main" val="2750845990"/>
                    </a:ext>
                  </a:extLst>
                </a:gridCol>
                <a:gridCol w="2511552">
                  <a:extLst>
                    <a:ext uri="{9D8B030D-6E8A-4147-A177-3AD203B41FA5}">
                      <a16:colId xmlns:a16="http://schemas.microsoft.com/office/drawing/2014/main" val="3864519242"/>
                    </a:ext>
                  </a:extLst>
                </a:gridCol>
              </a:tblGrid>
              <a:tr h="370840">
                <a:tc>
                  <a:txBody>
                    <a:bodyPr/>
                    <a:lstStyle/>
                    <a:p>
                      <a:r>
                        <a:rPr lang="en-US" dirty="0"/>
                        <a:t>F SKU</a:t>
                      </a:r>
                      <a:endParaRPr lang="nl-BE" dirty="0"/>
                    </a:p>
                  </a:txBody>
                  <a:tcPr/>
                </a:tc>
                <a:tc>
                  <a:txBody>
                    <a:bodyPr/>
                    <a:lstStyle/>
                    <a:p>
                      <a:r>
                        <a:rPr lang="en-US" dirty="0"/>
                        <a:t>P SKU</a:t>
                      </a:r>
                      <a:endParaRPr lang="nl-BE" dirty="0"/>
                    </a:p>
                  </a:txBody>
                  <a:tcPr/>
                </a:tc>
                <a:tc>
                  <a:txBody>
                    <a:bodyPr/>
                    <a:lstStyle/>
                    <a:p>
                      <a:r>
                        <a:rPr lang="en-US" dirty="0"/>
                        <a:t>Pay-as-you-go</a:t>
                      </a:r>
                      <a:br>
                        <a:rPr lang="en-US" dirty="0"/>
                      </a:br>
                      <a:r>
                        <a:rPr lang="en-US" dirty="0"/>
                        <a:t>(monthly)</a:t>
                      </a:r>
                      <a:endParaRPr lang="nl-BE" dirty="0"/>
                    </a:p>
                  </a:txBody>
                  <a:tcPr/>
                </a:tc>
                <a:tc>
                  <a:txBody>
                    <a:bodyPr/>
                    <a:lstStyle/>
                    <a:p>
                      <a:r>
                        <a:rPr lang="en-US" dirty="0"/>
                        <a:t>Reserved Capacity P SKU (monthly)</a:t>
                      </a:r>
                      <a:endParaRPr lang="nl-BE" dirty="0"/>
                    </a:p>
                  </a:txBody>
                  <a:tcPr/>
                </a:tc>
                <a:extLst>
                  <a:ext uri="{0D108BD9-81ED-4DB2-BD59-A6C34878D82A}">
                    <a16:rowId xmlns:a16="http://schemas.microsoft.com/office/drawing/2014/main" val="3468181017"/>
                  </a:ext>
                </a:extLst>
              </a:tr>
              <a:tr h="370840">
                <a:tc>
                  <a:txBody>
                    <a:bodyPr/>
                    <a:lstStyle/>
                    <a:p>
                      <a:r>
                        <a:rPr lang="en-US" dirty="0"/>
                        <a:t>F2</a:t>
                      </a:r>
                      <a:endParaRPr lang="nl-BE" dirty="0"/>
                    </a:p>
                  </a:txBody>
                  <a:tcPr/>
                </a:tc>
                <a:tc>
                  <a:txBody>
                    <a:bodyPr/>
                    <a:lstStyle/>
                    <a:p>
                      <a:r>
                        <a:rPr lang="en-US" dirty="0"/>
                        <a:t>-</a:t>
                      </a:r>
                      <a:endParaRPr lang="nl-BE" dirty="0"/>
                    </a:p>
                  </a:txBody>
                  <a:tcPr/>
                </a:tc>
                <a:tc>
                  <a:txBody>
                    <a:bodyPr/>
                    <a:lstStyle/>
                    <a:p>
                      <a:pPr algn="r"/>
                      <a:r>
                        <a:rPr lang="nl-BE" dirty="0"/>
                        <a:t>$262.80</a:t>
                      </a:r>
                    </a:p>
                  </a:txBody>
                  <a:tcPr/>
                </a:tc>
                <a:tc>
                  <a:txBody>
                    <a:bodyPr/>
                    <a:lstStyle/>
                    <a:p>
                      <a:pPr algn="r"/>
                      <a:r>
                        <a:rPr lang="en-US" dirty="0"/>
                        <a:t>-</a:t>
                      </a:r>
                      <a:endParaRPr lang="nl-BE" dirty="0"/>
                    </a:p>
                  </a:txBody>
                  <a:tcPr/>
                </a:tc>
                <a:extLst>
                  <a:ext uri="{0D108BD9-81ED-4DB2-BD59-A6C34878D82A}">
                    <a16:rowId xmlns:a16="http://schemas.microsoft.com/office/drawing/2014/main" val="2332755520"/>
                  </a:ext>
                </a:extLst>
              </a:tr>
              <a:tr h="370840">
                <a:tc>
                  <a:txBody>
                    <a:bodyPr/>
                    <a:lstStyle/>
                    <a:p>
                      <a:r>
                        <a:rPr lang="en-US" dirty="0"/>
                        <a:t>F4</a:t>
                      </a:r>
                      <a:endParaRPr lang="nl-BE" dirty="0"/>
                    </a:p>
                  </a:txBody>
                  <a:tcPr/>
                </a:tc>
                <a:tc>
                  <a:txBody>
                    <a:bodyPr/>
                    <a:lstStyle/>
                    <a:p>
                      <a:r>
                        <a:rPr lang="en-US" dirty="0"/>
                        <a:t>-</a:t>
                      </a:r>
                      <a:endParaRPr lang="nl-BE" dirty="0"/>
                    </a:p>
                  </a:txBody>
                  <a:tcPr/>
                </a:tc>
                <a:tc>
                  <a:txBody>
                    <a:bodyPr/>
                    <a:lstStyle/>
                    <a:p>
                      <a:pPr algn="r"/>
                      <a:r>
                        <a:rPr lang="nl-BE" sz="1800" b="0" i="0" kern="1200" dirty="0">
                          <a:solidFill>
                            <a:schemeClr val="dk1"/>
                          </a:solidFill>
                          <a:effectLst/>
                          <a:latin typeface="+mn-lt"/>
                          <a:ea typeface="+mn-ea"/>
                          <a:cs typeface="+mn-cs"/>
                        </a:rPr>
                        <a:t>$525.60</a:t>
                      </a:r>
                      <a:endParaRPr lang="nl-BE" dirty="0"/>
                    </a:p>
                  </a:txBody>
                  <a:tcPr/>
                </a:tc>
                <a:tc>
                  <a:txBody>
                    <a:bodyPr/>
                    <a:lstStyle/>
                    <a:p>
                      <a:pPr algn="r"/>
                      <a:r>
                        <a:rPr lang="en-US" dirty="0"/>
                        <a:t>-</a:t>
                      </a:r>
                      <a:endParaRPr lang="nl-BE" dirty="0"/>
                    </a:p>
                  </a:txBody>
                  <a:tcPr/>
                </a:tc>
                <a:extLst>
                  <a:ext uri="{0D108BD9-81ED-4DB2-BD59-A6C34878D82A}">
                    <a16:rowId xmlns:a16="http://schemas.microsoft.com/office/drawing/2014/main" val="2790923603"/>
                  </a:ext>
                </a:extLst>
              </a:tr>
              <a:tr h="370840">
                <a:tc>
                  <a:txBody>
                    <a:bodyPr/>
                    <a:lstStyle/>
                    <a:p>
                      <a:r>
                        <a:rPr lang="en-US" dirty="0"/>
                        <a:t>F8</a:t>
                      </a:r>
                      <a:endParaRPr lang="nl-BE" dirty="0"/>
                    </a:p>
                  </a:txBody>
                  <a:tcPr/>
                </a:tc>
                <a:tc>
                  <a:txBody>
                    <a:bodyPr/>
                    <a:lstStyle/>
                    <a:p>
                      <a:r>
                        <a:rPr lang="en-US" dirty="0"/>
                        <a:t>EM</a:t>
                      </a:r>
                      <a:endParaRPr lang="nl-BE" dirty="0"/>
                    </a:p>
                  </a:txBody>
                  <a:tcPr/>
                </a:tc>
                <a:tc>
                  <a:txBody>
                    <a:bodyPr/>
                    <a:lstStyle/>
                    <a:p>
                      <a:pPr algn="r"/>
                      <a:r>
                        <a:rPr lang="nl-BE" sz="1800" b="0" i="0" kern="1200" dirty="0">
                          <a:solidFill>
                            <a:schemeClr val="dk1"/>
                          </a:solidFill>
                          <a:effectLst/>
                          <a:latin typeface="+mn-lt"/>
                          <a:ea typeface="+mn-ea"/>
                          <a:cs typeface="+mn-cs"/>
                        </a:rPr>
                        <a:t>$1,051.20</a:t>
                      </a:r>
                      <a:endParaRPr lang="nl-BE" dirty="0"/>
                    </a:p>
                  </a:txBody>
                  <a:tcPr/>
                </a:tc>
                <a:tc>
                  <a:txBody>
                    <a:bodyPr/>
                    <a:lstStyle/>
                    <a:p>
                      <a:pPr algn="r"/>
                      <a:r>
                        <a:rPr lang="en-US" dirty="0"/>
                        <a:t>~$750</a:t>
                      </a:r>
                      <a:endParaRPr lang="nl-BE" dirty="0"/>
                    </a:p>
                  </a:txBody>
                  <a:tcPr/>
                </a:tc>
                <a:extLst>
                  <a:ext uri="{0D108BD9-81ED-4DB2-BD59-A6C34878D82A}">
                    <a16:rowId xmlns:a16="http://schemas.microsoft.com/office/drawing/2014/main" val="331795344"/>
                  </a:ext>
                </a:extLst>
              </a:tr>
              <a:tr h="370840">
                <a:tc>
                  <a:txBody>
                    <a:bodyPr/>
                    <a:lstStyle/>
                    <a:p>
                      <a:r>
                        <a:rPr lang="en-US" dirty="0"/>
                        <a:t>F16</a:t>
                      </a:r>
                      <a:endParaRPr lang="nl-BE" dirty="0"/>
                    </a:p>
                  </a:txBody>
                  <a:tcPr/>
                </a:tc>
                <a:tc>
                  <a:txBody>
                    <a:bodyPr/>
                    <a:lstStyle/>
                    <a:p>
                      <a:r>
                        <a:rPr lang="en-US" dirty="0"/>
                        <a:t>EM2</a:t>
                      </a:r>
                      <a:endParaRPr lang="nl-BE" dirty="0"/>
                    </a:p>
                  </a:txBody>
                  <a:tcPr/>
                </a:tc>
                <a:tc>
                  <a:txBody>
                    <a:bodyPr/>
                    <a:lstStyle/>
                    <a:p>
                      <a:pPr algn="r"/>
                      <a:r>
                        <a:rPr lang="nl-BE" sz="1800" b="0" i="0" kern="1200" dirty="0">
                          <a:solidFill>
                            <a:schemeClr val="dk1"/>
                          </a:solidFill>
                          <a:effectLst/>
                          <a:latin typeface="+mn-lt"/>
                          <a:ea typeface="+mn-ea"/>
                          <a:cs typeface="+mn-cs"/>
                        </a:rPr>
                        <a:t>$2,102.40</a:t>
                      </a:r>
                      <a:endParaRPr lang="nl-BE" dirty="0"/>
                    </a:p>
                  </a:txBody>
                  <a:tcPr/>
                </a:tc>
                <a:tc>
                  <a:txBody>
                    <a:bodyPr/>
                    <a:lstStyle/>
                    <a:p>
                      <a:pPr algn="r"/>
                      <a:r>
                        <a:rPr lang="en-US" dirty="0"/>
                        <a:t>~$1,500</a:t>
                      </a:r>
                      <a:endParaRPr lang="nl-BE" dirty="0"/>
                    </a:p>
                  </a:txBody>
                  <a:tcPr/>
                </a:tc>
                <a:extLst>
                  <a:ext uri="{0D108BD9-81ED-4DB2-BD59-A6C34878D82A}">
                    <a16:rowId xmlns:a16="http://schemas.microsoft.com/office/drawing/2014/main" val="3730283232"/>
                  </a:ext>
                </a:extLst>
              </a:tr>
              <a:tr h="370840">
                <a:tc>
                  <a:txBody>
                    <a:bodyPr/>
                    <a:lstStyle/>
                    <a:p>
                      <a:r>
                        <a:rPr lang="en-US" dirty="0"/>
                        <a:t>F32</a:t>
                      </a:r>
                      <a:endParaRPr lang="nl-BE" dirty="0"/>
                    </a:p>
                  </a:txBody>
                  <a:tcPr/>
                </a:tc>
                <a:tc>
                  <a:txBody>
                    <a:bodyPr/>
                    <a:lstStyle/>
                    <a:p>
                      <a:r>
                        <a:rPr lang="en-US" dirty="0"/>
                        <a:t>EM3</a:t>
                      </a:r>
                      <a:endParaRPr lang="nl-BE" dirty="0"/>
                    </a:p>
                  </a:txBody>
                  <a:tcPr/>
                </a:tc>
                <a:tc>
                  <a:txBody>
                    <a:bodyPr/>
                    <a:lstStyle/>
                    <a:p>
                      <a:pPr algn="r" fontAlgn="t"/>
                      <a:r>
                        <a:rPr lang="nl-BE" dirty="0">
                          <a:effectLst/>
                        </a:rPr>
                        <a:t>$4,204.80</a:t>
                      </a:r>
                    </a:p>
                  </a:txBody>
                  <a:tcPr marT="91440" marB="91440"/>
                </a:tc>
                <a:tc>
                  <a:txBody>
                    <a:bodyPr/>
                    <a:lstStyle/>
                    <a:p>
                      <a:pPr algn="r"/>
                      <a:r>
                        <a:rPr lang="en-US" dirty="0"/>
                        <a:t>~$3,000</a:t>
                      </a:r>
                      <a:endParaRPr lang="nl-BE" dirty="0"/>
                    </a:p>
                  </a:txBody>
                  <a:tcPr/>
                </a:tc>
                <a:extLst>
                  <a:ext uri="{0D108BD9-81ED-4DB2-BD59-A6C34878D82A}">
                    <a16:rowId xmlns:a16="http://schemas.microsoft.com/office/drawing/2014/main" val="1434735819"/>
                  </a:ext>
                </a:extLst>
              </a:tr>
              <a:tr h="370840">
                <a:tc>
                  <a:txBody>
                    <a:bodyPr/>
                    <a:lstStyle/>
                    <a:p>
                      <a:r>
                        <a:rPr lang="en-US" dirty="0"/>
                        <a:t>F64</a:t>
                      </a:r>
                      <a:endParaRPr lang="nl-BE" dirty="0"/>
                    </a:p>
                  </a:txBody>
                  <a:tcPr/>
                </a:tc>
                <a:tc>
                  <a:txBody>
                    <a:bodyPr/>
                    <a:lstStyle/>
                    <a:p>
                      <a:r>
                        <a:rPr lang="en-US" dirty="0"/>
                        <a:t>P1</a:t>
                      </a:r>
                      <a:endParaRPr lang="nl-BE" dirty="0"/>
                    </a:p>
                  </a:txBody>
                  <a:tcPr/>
                </a:tc>
                <a:tc>
                  <a:txBody>
                    <a:bodyPr/>
                    <a:lstStyle/>
                    <a:p>
                      <a:pPr algn="r"/>
                      <a:r>
                        <a:rPr lang="nl-BE" sz="1800" b="0" i="0" kern="1200" dirty="0">
                          <a:solidFill>
                            <a:schemeClr val="dk1"/>
                          </a:solidFill>
                          <a:effectLst/>
                          <a:latin typeface="+mn-lt"/>
                          <a:ea typeface="+mn-ea"/>
                          <a:cs typeface="+mn-cs"/>
                        </a:rPr>
                        <a:t>$8,409.60</a:t>
                      </a:r>
                      <a:endParaRPr lang="nl-BE" dirty="0"/>
                    </a:p>
                  </a:txBody>
                  <a:tcPr/>
                </a:tc>
                <a:tc>
                  <a:txBody>
                    <a:bodyPr/>
                    <a:lstStyle/>
                    <a:p>
                      <a:pPr algn="r"/>
                      <a:r>
                        <a:rPr lang="en-US" dirty="0"/>
                        <a:t>~$5,000-6,000</a:t>
                      </a:r>
                      <a:endParaRPr lang="nl-BE" dirty="0"/>
                    </a:p>
                  </a:txBody>
                  <a:tcPr/>
                </a:tc>
                <a:extLst>
                  <a:ext uri="{0D108BD9-81ED-4DB2-BD59-A6C34878D82A}">
                    <a16:rowId xmlns:a16="http://schemas.microsoft.com/office/drawing/2014/main" val="2475275795"/>
                  </a:ext>
                </a:extLst>
              </a:tr>
              <a:tr h="370840">
                <a:tc>
                  <a:txBody>
                    <a:bodyPr/>
                    <a:lstStyle/>
                    <a:p>
                      <a:r>
                        <a:rPr lang="en-US" dirty="0"/>
                        <a:t>F128</a:t>
                      </a:r>
                      <a:endParaRPr lang="nl-BE" dirty="0"/>
                    </a:p>
                  </a:txBody>
                  <a:tcPr/>
                </a:tc>
                <a:tc>
                  <a:txBody>
                    <a:bodyPr/>
                    <a:lstStyle/>
                    <a:p>
                      <a:r>
                        <a:rPr lang="en-US" dirty="0"/>
                        <a:t>P2</a:t>
                      </a:r>
                      <a:endParaRPr lang="nl-BE" dirty="0"/>
                    </a:p>
                  </a:txBody>
                  <a:tcPr/>
                </a:tc>
                <a:tc>
                  <a:txBody>
                    <a:bodyPr/>
                    <a:lstStyle/>
                    <a:p>
                      <a:pPr algn="r" fontAlgn="t"/>
                      <a:r>
                        <a:rPr lang="nl-BE" sz="1800" b="0" i="0" kern="1200" dirty="0">
                          <a:solidFill>
                            <a:schemeClr val="dk1"/>
                          </a:solidFill>
                          <a:effectLst/>
                          <a:latin typeface="+mn-lt"/>
                          <a:ea typeface="+mn-ea"/>
                          <a:cs typeface="+mn-cs"/>
                        </a:rPr>
                        <a:t>$16,819.20</a:t>
                      </a:r>
                      <a:endParaRPr lang="nl-BE" dirty="0">
                        <a:effectLst/>
                      </a:endParaRPr>
                    </a:p>
                  </a:txBody>
                  <a:tcPr marT="91440" marB="91440"/>
                </a:tc>
                <a:tc>
                  <a:txBody>
                    <a:bodyPr/>
                    <a:lstStyle/>
                    <a:p>
                      <a:pPr algn="r"/>
                      <a:r>
                        <a:rPr lang="en-US" dirty="0"/>
                        <a:t>~$10,000-12000</a:t>
                      </a:r>
                      <a:endParaRPr lang="nl-BE" dirty="0"/>
                    </a:p>
                  </a:txBody>
                  <a:tcPr/>
                </a:tc>
                <a:extLst>
                  <a:ext uri="{0D108BD9-81ED-4DB2-BD59-A6C34878D82A}">
                    <a16:rowId xmlns:a16="http://schemas.microsoft.com/office/drawing/2014/main" val="865012236"/>
                  </a:ext>
                </a:extLst>
              </a:tr>
              <a:tr h="370840">
                <a:tc>
                  <a:txBody>
                    <a:bodyPr/>
                    <a:lstStyle/>
                    <a:p>
                      <a:r>
                        <a:rPr lang="en-US" dirty="0"/>
                        <a:t>F256</a:t>
                      </a:r>
                      <a:endParaRPr lang="nl-BE" dirty="0"/>
                    </a:p>
                  </a:txBody>
                  <a:tcPr/>
                </a:tc>
                <a:tc>
                  <a:txBody>
                    <a:bodyPr/>
                    <a:lstStyle/>
                    <a:p>
                      <a:r>
                        <a:rPr lang="en-US" dirty="0"/>
                        <a:t>P3</a:t>
                      </a:r>
                      <a:endParaRPr lang="nl-B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dirty="0">
                          <a:effectLst/>
                        </a:rPr>
                        <a:t>$33,638.40</a:t>
                      </a:r>
                    </a:p>
                  </a:txBody>
                  <a:tcPr/>
                </a:tc>
                <a:tc>
                  <a:txBody>
                    <a:bodyPr/>
                    <a:lstStyle/>
                    <a:p>
                      <a:pPr algn="r"/>
                      <a:r>
                        <a:rPr lang="en-US" dirty="0"/>
                        <a:t>~$20,000-24,000</a:t>
                      </a:r>
                      <a:endParaRPr lang="nl-BE" dirty="0"/>
                    </a:p>
                  </a:txBody>
                  <a:tcPr/>
                </a:tc>
                <a:extLst>
                  <a:ext uri="{0D108BD9-81ED-4DB2-BD59-A6C34878D82A}">
                    <a16:rowId xmlns:a16="http://schemas.microsoft.com/office/drawing/2014/main" val="3563644503"/>
                  </a:ext>
                </a:extLst>
              </a:tr>
              <a:tr h="370840">
                <a:tc>
                  <a:txBody>
                    <a:bodyPr/>
                    <a:lstStyle/>
                    <a:p>
                      <a:r>
                        <a:rPr lang="en-US" dirty="0"/>
                        <a:t>F512</a:t>
                      </a:r>
                      <a:endParaRPr lang="nl-BE" dirty="0"/>
                    </a:p>
                  </a:txBody>
                  <a:tcPr/>
                </a:tc>
                <a:tc>
                  <a:txBody>
                    <a:bodyPr/>
                    <a:lstStyle/>
                    <a:p>
                      <a:r>
                        <a:rPr lang="en-US" dirty="0"/>
                        <a:t>P4</a:t>
                      </a:r>
                      <a:endParaRPr lang="nl-B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800" b="0" i="0" kern="1200" dirty="0">
                          <a:solidFill>
                            <a:schemeClr val="dk1"/>
                          </a:solidFill>
                          <a:effectLst/>
                          <a:latin typeface="+mn-lt"/>
                          <a:ea typeface="+mn-ea"/>
                          <a:cs typeface="+mn-cs"/>
                        </a:rPr>
                        <a:t>$67,276.80</a:t>
                      </a:r>
                      <a:endParaRPr lang="nl-BE" dirty="0"/>
                    </a:p>
                  </a:txBody>
                  <a:tcPr/>
                </a:tc>
                <a:tc>
                  <a:txBody>
                    <a:bodyPr/>
                    <a:lstStyle/>
                    <a:p>
                      <a:pPr algn="r"/>
                      <a:r>
                        <a:rPr lang="en-US" dirty="0"/>
                        <a:t>~$40,000</a:t>
                      </a:r>
                      <a:endParaRPr lang="nl-BE" dirty="0"/>
                    </a:p>
                  </a:txBody>
                  <a:tcPr/>
                </a:tc>
                <a:extLst>
                  <a:ext uri="{0D108BD9-81ED-4DB2-BD59-A6C34878D82A}">
                    <a16:rowId xmlns:a16="http://schemas.microsoft.com/office/drawing/2014/main" val="624919279"/>
                  </a:ext>
                </a:extLst>
              </a:tr>
              <a:tr h="370840">
                <a:tc>
                  <a:txBody>
                    <a:bodyPr/>
                    <a:lstStyle/>
                    <a:p>
                      <a:r>
                        <a:rPr lang="en-US" dirty="0"/>
                        <a:t>F1024</a:t>
                      </a:r>
                      <a:endParaRPr lang="nl-BE" dirty="0"/>
                    </a:p>
                  </a:txBody>
                  <a:tcPr/>
                </a:tc>
                <a:tc>
                  <a:txBody>
                    <a:bodyPr/>
                    <a:lstStyle/>
                    <a:p>
                      <a:r>
                        <a:rPr lang="en-US" dirty="0"/>
                        <a:t>P5</a:t>
                      </a:r>
                      <a:endParaRPr lang="nl-B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800" b="0" i="0" kern="1200" dirty="0">
                          <a:solidFill>
                            <a:schemeClr val="dk1"/>
                          </a:solidFill>
                          <a:effectLst/>
                          <a:latin typeface="+mn-lt"/>
                          <a:ea typeface="+mn-ea"/>
                          <a:cs typeface="+mn-cs"/>
                        </a:rPr>
                        <a:t>$134,553.60</a:t>
                      </a:r>
                      <a:endParaRPr lang="nl-BE" dirty="0"/>
                    </a:p>
                  </a:txBody>
                  <a:tcPr/>
                </a:tc>
                <a:tc>
                  <a:txBody>
                    <a:bodyPr/>
                    <a:lstStyle/>
                    <a:p>
                      <a:pPr algn="r"/>
                      <a:r>
                        <a:rPr lang="en-US" dirty="0"/>
                        <a:t>~$80,000</a:t>
                      </a:r>
                      <a:endParaRPr lang="nl-BE" dirty="0"/>
                    </a:p>
                  </a:txBody>
                  <a:tcPr/>
                </a:tc>
                <a:extLst>
                  <a:ext uri="{0D108BD9-81ED-4DB2-BD59-A6C34878D82A}">
                    <a16:rowId xmlns:a16="http://schemas.microsoft.com/office/drawing/2014/main" val="2213066601"/>
                  </a:ext>
                </a:extLst>
              </a:tr>
              <a:tr h="370840">
                <a:tc>
                  <a:txBody>
                    <a:bodyPr/>
                    <a:lstStyle/>
                    <a:p>
                      <a:r>
                        <a:rPr lang="en-US" dirty="0"/>
                        <a:t>F2048</a:t>
                      </a:r>
                      <a:endParaRPr lang="nl-BE" dirty="0"/>
                    </a:p>
                  </a:txBody>
                  <a:tcPr/>
                </a:tc>
                <a:tc>
                  <a:txBody>
                    <a:bodyPr/>
                    <a:lstStyle/>
                    <a:p>
                      <a:r>
                        <a:rPr lang="en-US" dirty="0"/>
                        <a:t>-</a:t>
                      </a:r>
                      <a:endParaRPr lang="nl-BE" dirty="0"/>
                    </a:p>
                  </a:txBody>
                  <a:tcPr/>
                </a:tc>
                <a:tc>
                  <a:txBody>
                    <a:bodyPr/>
                    <a:lstStyle/>
                    <a:p>
                      <a:pPr algn="r" fontAlgn="t"/>
                      <a:r>
                        <a:rPr lang="nl-BE" dirty="0">
                          <a:effectLst/>
                        </a:rPr>
                        <a:t>$269,107.20</a:t>
                      </a:r>
                    </a:p>
                  </a:txBody>
                  <a:tcPr marT="91440" marB="91440"/>
                </a:tc>
                <a:tc>
                  <a:txBody>
                    <a:bodyPr/>
                    <a:lstStyle/>
                    <a:p>
                      <a:pPr algn="r"/>
                      <a:endParaRPr lang="nl-BE" dirty="0"/>
                    </a:p>
                  </a:txBody>
                  <a:tcPr/>
                </a:tc>
                <a:extLst>
                  <a:ext uri="{0D108BD9-81ED-4DB2-BD59-A6C34878D82A}">
                    <a16:rowId xmlns:a16="http://schemas.microsoft.com/office/drawing/2014/main" val="1262323875"/>
                  </a:ext>
                </a:extLst>
              </a:tr>
            </a:tbl>
          </a:graphicData>
        </a:graphic>
      </p:graphicFrame>
      <p:sp>
        <p:nvSpPr>
          <p:cNvPr id="7" name="Rectangle 6">
            <a:extLst>
              <a:ext uri="{FF2B5EF4-FFF2-40B4-BE49-F238E27FC236}">
                <a16:creationId xmlns:a16="http://schemas.microsoft.com/office/drawing/2014/main" id="{9E16930F-553E-4FAC-B8D3-BAF34E905C02}"/>
              </a:ext>
            </a:extLst>
          </p:cNvPr>
          <p:cNvSpPr/>
          <p:nvPr/>
        </p:nvSpPr>
        <p:spPr>
          <a:xfrm>
            <a:off x="2401824" y="1463040"/>
            <a:ext cx="1280160" cy="4547616"/>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10" name="Straight Arrow Connector 9">
            <a:extLst>
              <a:ext uri="{FF2B5EF4-FFF2-40B4-BE49-F238E27FC236}">
                <a16:creationId xmlns:a16="http://schemas.microsoft.com/office/drawing/2014/main" id="{62F1EE68-7DEC-F68B-160F-6AA346FFEF11}"/>
              </a:ext>
            </a:extLst>
          </p:cNvPr>
          <p:cNvCxnSpPr>
            <a:cxnSpLocks/>
          </p:cNvCxnSpPr>
          <p:nvPr/>
        </p:nvCxnSpPr>
        <p:spPr>
          <a:xfrm flipH="1">
            <a:off x="1421858" y="2489211"/>
            <a:ext cx="979966" cy="522213"/>
          </a:xfrm>
          <a:prstGeom prst="straightConnector1">
            <a:avLst/>
          </a:prstGeom>
          <a:noFill/>
          <a:ln w="44450">
            <a:solidFill>
              <a:srgbClr val="FF0000"/>
            </a:solidFill>
            <a:headEnd type="none"/>
            <a:tailEnd type="triangle"/>
          </a:ln>
        </p:spPr>
      </p:cxnSp>
      <p:sp>
        <p:nvSpPr>
          <p:cNvPr id="12" name="TextBox 11">
            <a:extLst>
              <a:ext uri="{FF2B5EF4-FFF2-40B4-BE49-F238E27FC236}">
                <a16:creationId xmlns:a16="http://schemas.microsoft.com/office/drawing/2014/main" id="{F9460D5F-5268-0FAF-8099-7DFF587C51E1}"/>
              </a:ext>
            </a:extLst>
          </p:cNvPr>
          <p:cNvSpPr txBox="1"/>
          <p:nvPr/>
        </p:nvSpPr>
        <p:spPr>
          <a:xfrm>
            <a:off x="1" y="3015580"/>
            <a:ext cx="2552192" cy="1569660"/>
          </a:xfrm>
          <a:prstGeom prst="rect">
            <a:avLst/>
          </a:prstGeom>
          <a:noFill/>
        </p:spPr>
        <p:txBody>
          <a:bodyPr wrap="square" rtlCol="0">
            <a:spAutoFit/>
          </a:bodyPr>
          <a:lstStyle/>
          <a:p>
            <a:r>
              <a:rPr lang="en-US" sz="2400" dirty="0">
                <a:solidFill>
                  <a:srgbClr val="FF0000"/>
                </a:solidFill>
              </a:rPr>
              <a:t>Azure SKU</a:t>
            </a:r>
            <a:br>
              <a:rPr lang="en-US" sz="2400" dirty="0">
                <a:solidFill>
                  <a:srgbClr val="FF0000"/>
                </a:solidFill>
              </a:rPr>
            </a:br>
            <a:r>
              <a:rPr lang="en-US" sz="2400" dirty="0">
                <a:solidFill>
                  <a:srgbClr val="FF0000"/>
                </a:solidFill>
              </a:rPr>
              <a:t>can be paused</a:t>
            </a:r>
          </a:p>
          <a:p>
            <a:r>
              <a:rPr lang="en-US" sz="2400" dirty="0">
                <a:solidFill>
                  <a:srgbClr val="FF0000"/>
                </a:solidFill>
              </a:rPr>
              <a:t>can scale up or down</a:t>
            </a:r>
            <a:endParaRPr lang="nl-BE" sz="2400" dirty="0">
              <a:solidFill>
                <a:srgbClr val="FF0000"/>
              </a:solidFill>
            </a:endParaRPr>
          </a:p>
        </p:txBody>
      </p:sp>
      <p:sp>
        <p:nvSpPr>
          <p:cNvPr id="2" name="Rectangle 1">
            <a:extLst>
              <a:ext uri="{FF2B5EF4-FFF2-40B4-BE49-F238E27FC236}">
                <a16:creationId xmlns:a16="http://schemas.microsoft.com/office/drawing/2014/main" id="{429AF6E4-A158-73A9-F5FD-18A5624D9291}"/>
              </a:ext>
            </a:extLst>
          </p:cNvPr>
          <p:cNvSpPr/>
          <p:nvPr/>
        </p:nvSpPr>
        <p:spPr>
          <a:xfrm>
            <a:off x="3710432" y="3429000"/>
            <a:ext cx="1349248" cy="2081784"/>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3" name="Straight Arrow Connector 2">
            <a:extLst>
              <a:ext uri="{FF2B5EF4-FFF2-40B4-BE49-F238E27FC236}">
                <a16:creationId xmlns:a16="http://schemas.microsoft.com/office/drawing/2014/main" id="{94FC7E4B-E8D1-18C8-1A8F-648B2A98CD3E}"/>
              </a:ext>
            </a:extLst>
          </p:cNvPr>
          <p:cNvCxnSpPr>
            <a:cxnSpLocks/>
          </p:cNvCxnSpPr>
          <p:nvPr/>
        </p:nvCxnSpPr>
        <p:spPr>
          <a:xfrm>
            <a:off x="4875039" y="5510784"/>
            <a:ext cx="769857" cy="816864"/>
          </a:xfrm>
          <a:prstGeom prst="straightConnector1">
            <a:avLst/>
          </a:prstGeom>
          <a:noFill/>
          <a:ln w="44450">
            <a:solidFill>
              <a:srgbClr val="FF0000"/>
            </a:solidFill>
            <a:headEnd type="none"/>
            <a:tailEnd type="triangle"/>
          </a:ln>
        </p:spPr>
      </p:cxnSp>
      <p:sp>
        <p:nvSpPr>
          <p:cNvPr id="5" name="TextBox 4">
            <a:extLst>
              <a:ext uri="{FF2B5EF4-FFF2-40B4-BE49-F238E27FC236}">
                <a16:creationId xmlns:a16="http://schemas.microsoft.com/office/drawing/2014/main" id="{54AF8739-8E05-E059-6375-656AED7D315E}"/>
              </a:ext>
            </a:extLst>
          </p:cNvPr>
          <p:cNvSpPr txBox="1"/>
          <p:nvPr/>
        </p:nvSpPr>
        <p:spPr>
          <a:xfrm>
            <a:off x="4606273" y="6327648"/>
            <a:ext cx="5033535" cy="461665"/>
          </a:xfrm>
          <a:prstGeom prst="rect">
            <a:avLst/>
          </a:prstGeom>
          <a:noFill/>
        </p:spPr>
        <p:txBody>
          <a:bodyPr wrap="square" rtlCol="0">
            <a:spAutoFit/>
          </a:bodyPr>
          <a:lstStyle/>
          <a:p>
            <a:r>
              <a:rPr lang="en-US" sz="2400" dirty="0">
                <a:solidFill>
                  <a:srgbClr val="FF0000"/>
                </a:solidFill>
              </a:rPr>
              <a:t>basically Power BI Premium</a:t>
            </a:r>
            <a:endParaRPr lang="nl-BE" sz="2400" dirty="0">
              <a:solidFill>
                <a:srgbClr val="FF0000"/>
              </a:solidFill>
            </a:endParaRPr>
          </a:p>
        </p:txBody>
      </p:sp>
      <p:sp>
        <p:nvSpPr>
          <p:cNvPr id="8" name="TextBox 7">
            <a:extLst>
              <a:ext uri="{FF2B5EF4-FFF2-40B4-BE49-F238E27FC236}">
                <a16:creationId xmlns:a16="http://schemas.microsoft.com/office/drawing/2014/main" id="{1B045A73-B32F-1777-D1A9-0C438CF00123}"/>
              </a:ext>
            </a:extLst>
          </p:cNvPr>
          <p:cNvSpPr txBox="1"/>
          <p:nvPr/>
        </p:nvSpPr>
        <p:spPr>
          <a:xfrm>
            <a:off x="9639807" y="2644170"/>
            <a:ext cx="2552192" cy="1569660"/>
          </a:xfrm>
          <a:prstGeom prst="rect">
            <a:avLst/>
          </a:prstGeom>
          <a:noFill/>
        </p:spPr>
        <p:txBody>
          <a:bodyPr wrap="square" rtlCol="0">
            <a:spAutoFit/>
          </a:bodyPr>
          <a:lstStyle/>
          <a:p>
            <a:r>
              <a:rPr lang="en-US" sz="2400" dirty="0">
                <a:solidFill>
                  <a:srgbClr val="FF0000"/>
                </a:solidFill>
              </a:rPr>
              <a:t>when below F64, every user needs Power BI Pro license</a:t>
            </a:r>
            <a:endParaRPr lang="nl-BE" sz="2400" dirty="0">
              <a:solidFill>
                <a:srgbClr val="FF0000"/>
              </a:solidFill>
            </a:endParaRPr>
          </a:p>
        </p:txBody>
      </p:sp>
      <p:sp>
        <p:nvSpPr>
          <p:cNvPr id="4" name="Rectangle 3">
            <a:extLst>
              <a:ext uri="{FF2B5EF4-FFF2-40B4-BE49-F238E27FC236}">
                <a16:creationId xmlns:a16="http://schemas.microsoft.com/office/drawing/2014/main" id="{5A94B864-DC96-9715-8F81-7A2F066718EE}"/>
              </a:ext>
            </a:extLst>
          </p:cNvPr>
          <p:cNvSpPr/>
          <p:nvPr/>
        </p:nvSpPr>
        <p:spPr>
          <a:xfrm>
            <a:off x="5707888" y="1463040"/>
            <a:ext cx="1424434" cy="4455160"/>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9" name="Straight Arrow Connector 8">
            <a:extLst>
              <a:ext uri="{FF2B5EF4-FFF2-40B4-BE49-F238E27FC236}">
                <a16:creationId xmlns:a16="http://schemas.microsoft.com/office/drawing/2014/main" id="{728261AF-1309-87DB-14B7-D88EA6636D27}"/>
              </a:ext>
            </a:extLst>
          </p:cNvPr>
          <p:cNvCxnSpPr>
            <a:cxnSpLocks/>
          </p:cNvCxnSpPr>
          <p:nvPr/>
        </p:nvCxnSpPr>
        <p:spPr>
          <a:xfrm flipV="1">
            <a:off x="7149752" y="5554736"/>
            <a:ext cx="2553048" cy="108448"/>
          </a:xfrm>
          <a:prstGeom prst="straightConnector1">
            <a:avLst/>
          </a:prstGeom>
          <a:noFill/>
          <a:ln w="44450">
            <a:solidFill>
              <a:srgbClr val="FF0000"/>
            </a:solidFill>
            <a:headEnd type="none"/>
            <a:tailEnd type="triangle"/>
          </a:ln>
        </p:spPr>
      </p:cxnSp>
      <p:sp>
        <p:nvSpPr>
          <p:cNvPr id="13" name="TextBox 12">
            <a:extLst>
              <a:ext uri="{FF2B5EF4-FFF2-40B4-BE49-F238E27FC236}">
                <a16:creationId xmlns:a16="http://schemas.microsoft.com/office/drawing/2014/main" id="{DCC41A69-3886-3435-9C61-E9B74C956A4A}"/>
              </a:ext>
            </a:extLst>
          </p:cNvPr>
          <p:cNvSpPr txBox="1"/>
          <p:nvPr/>
        </p:nvSpPr>
        <p:spPr>
          <a:xfrm>
            <a:off x="9702800" y="4639464"/>
            <a:ext cx="2552192" cy="1938992"/>
          </a:xfrm>
          <a:prstGeom prst="rect">
            <a:avLst/>
          </a:prstGeom>
          <a:noFill/>
        </p:spPr>
        <p:txBody>
          <a:bodyPr wrap="square" rtlCol="0">
            <a:spAutoFit/>
          </a:bodyPr>
          <a:lstStyle/>
          <a:p>
            <a:r>
              <a:rPr lang="en-US" sz="2400" dirty="0">
                <a:solidFill>
                  <a:srgbClr val="FF0000"/>
                </a:solidFill>
              </a:rPr>
              <a:t>new:</a:t>
            </a:r>
            <a:br>
              <a:rPr lang="en-US" sz="2400" dirty="0">
                <a:solidFill>
                  <a:srgbClr val="FF0000"/>
                </a:solidFill>
              </a:rPr>
            </a:br>
            <a:r>
              <a:rPr lang="en-US" sz="2400" dirty="0">
                <a:solidFill>
                  <a:srgbClr val="FF0000"/>
                </a:solidFill>
              </a:rPr>
              <a:t>with F reserved capacity you get ~41% discount</a:t>
            </a:r>
            <a:endParaRPr lang="nl-BE" sz="2400" dirty="0">
              <a:solidFill>
                <a:srgbClr val="FF0000"/>
              </a:solidFill>
            </a:endParaRPr>
          </a:p>
        </p:txBody>
      </p:sp>
    </p:spTree>
    <p:extLst>
      <p:ext uri="{BB962C8B-B14F-4D97-AF65-F5344CB8AC3E}">
        <p14:creationId xmlns:p14="http://schemas.microsoft.com/office/powerpoint/2010/main" val="864387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12"/>
                                        </p:tgtEl>
                                      </p:cBhvr>
                                    </p:animEffect>
                                    <p:set>
                                      <p:cBhvr>
                                        <p:cTn id="21" dur="1" fill="hold">
                                          <p:stCondLst>
                                            <p:cond delay="499"/>
                                          </p:stCondLst>
                                        </p:cTn>
                                        <p:tgtEl>
                                          <p:spTgt spid="12"/>
                                        </p:tgtEl>
                                        <p:attrNameLst>
                                          <p:attrName>style.visibility</p:attrName>
                                        </p:attrNameLst>
                                      </p:cBhvr>
                                      <p:to>
                                        <p:strVal val="hidden"/>
                                      </p:to>
                                    </p:set>
                                  </p:childTnLst>
                                </p:cTn>
                              </p:par>
                              <p:par>
                                <p:cTn id="22" presetID="10" presetClass="exit" presetSubtype="0" fill="hold" grpId="1" nodeType="withEffect">
                                  <p:stCondLst>
                                    <p:cond delay="0"/>
                                  </p:stCondLst>
                                  <p:childTnLst>
                                    <p:animEffect transition="out" filter="fade">
                                      <p:cBhvr>
                                        <p:cTn id="23" dur="500"/>
                                        <p:tgtEl>
                                          <p:spTgt spid="7"/>
                                        </p:tgtEl>
                                      </p:cBhvr>
                                    </p:animEffect>
                                    <p:set>
                                      <p:cBhvr>
                                        <p:cTn id="24" dur="1" fill="hold">
                                          <p:stCondLst>
                                            <p:cond delay="499"/>
                                          </p:stCondLst>
                                        </p:cTn>
                                        <p:tgtEl>
                                          <p:spTgt spid="7"/>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par>
                                <p:cTn id="30" presetID="10" presetClass="entr" presetSubtype="0" fill="hold"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2"/>
                                        </p:tgtEl>
                                      </p:cBhvr>
                                    </p:animEffect>
                                    <p:set>
                                      <p:cBhvr>
                                        <p:cTn id="40" dur="1" fill="hold">
                                          <p:stCondLst>
                                            <p:cond delay="499"/>
                                          </p:stCondLst>
                                        </p:cTn>
                                        <p:tgtEl>
                                          <p:spTgt spid="2"/>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3"/>
                                        </p:tgtEl>
                                      </p:cBhvr>
                                    </p:animEffect>
                                    <p:set>
                                      <p:cBhvr>
                                        <p:cTn id="43" dur="1" fill="hold">
                                          <p:stCondLst>
                                            <p:cond delay="499"/>
                                          </p:stCondLst>
                                        </p:cTn>
                                        <p:tgtEl>
                                          <p:spTgt spid="3"/>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5"/>
                                        </p:tgtEl>
                                      </p:cBhvr>
                                    </p:animEffect>
                                    <p:set>
                                      <p:cBhvr>
                                        <p:cTn id="46" dur="1" fill="hold">
                                          <p:stCondLst>
                                            <p:cond delay="499"/>
                                          </p:stCondLst>
                                        </p:cTn>
                                        <p:tgtEl>
                                          <p:spTgt spid="5"/>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500"/>
                                        <p:tgtEl>
                                          <p:spTgt spid="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500"/>
                                        <p:tgtEl>
                                          <p:spTgt spid="4"/>
                                        </p:tgtEl>
                                      </p:cBhvr>
                                    </p:animEffect>
                                  </p:childTnLst>
                                </p:cTn>
                              </p:par>
                              <p:par>
                                <p:cTn id="57" presetID="10" presetClass="entr" presetSubtype="0" fill="hold" nodeType="with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500"/>
                                        <p:tgtEl>
                                          <p:spTgt spid="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2" grpId="0"/>
      <p:bldP spid="12" grpId="1"/>
      <p:bldP spid="2" grpId="0" animBg="1"/>
      <p:bldP spid="2" grpId="1" animBg="1"/>
      <p:bldP spid="5" grpId="0"/>
      <p:bldP spid="5" grpId="1"/>
      <p:bldP spid="8" grpId="0"/>
      <p:bldP spid="4" grpId="0" animBg="1"/>
      <p:bldP spid="1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66A9FB-463B-9E25-ED20-D36959E12FD0}"/>
              </a:ext>
            </a:extLst>
          </p:cNvPr>
          <p:cNvSpPr>
            <a:spLocks noGrp="1"/>
          </p:cNvSpPr>
          <p:nvPr>
            <p:ph type="ctrTitle"/>
          </p:nvPr>
        </p:nvSpPr>
        <p:spPr/>
        <p:txBody>
          <a:bodyPr>
            <a:normAutofit fontScale="90000"/>
          </a:bodyPr>
          <a:lstStyle/>
          <a:p>
            <a:r>
              <a:rPr lang="en-US" sz="8000" dirty="0"/>
              <a:t> </a:t>
            </a:r>
            <a:br>
              <a:rPr lang="en-US" sz="16600" dirty="0"/>
            </a:br>
            <a:r>
              <a:rPr lang="en-US" sz="16600" dirty="0"/>
              <a:t>conclusion</a:t>
            </a:r>
            <a:endParaRPr lang="nl-BE" sz="16600" dirty="0"/>
          </a:p>
        </p:txBody>
      </p:sp>
    </p:spTree>
    <p:extLst>
      <p:ext uri="{BB962C8B-B14F-4D97-AF65-F5344CB8AC3E}">
        <p14:creationId xmlns:p14="http://schemas.microsoft.com/office/powerpoint/2010/main" val="139598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33BE15-8834-8D01-22CC-510841B817E7}"/>
              </a:ext>
            </a:extLst>
          </p:cNvPr>
          <p:cNvSpPr>
            <a:spLocks noGrp="1"/>
          </p:cNvSpPr>
          <p:nvPr>
            <p:ph type="title"/>
          </p:nvPr>
        </p:nvSpPr>
        <p:spPr/>
        <p:txBody>
          <a:bodyPr/>
          <a:lstStyle/>
          <a:p>
            <a:endParaRPr lang="nl-BE" dirty="0"/>
          </a:p>
        </p:txBody>
      </p:sp>
      <p:sp>
        <p:nvSpPr>
          <p:cNvPr id="4" name="Rounded Rectangle 38">
            <a:extLst>
              <a:ext uri="{FF2B5EF4-FFF2-40B4-BE49-F238E27FC236}">
                <a16:creationId xmlns:a16="http://schemas.microsoft.com/office/drawing/2014/main" id="{61EB76A6-06AD-5407-26B0-BF2782721E7F}"/>
              </a:ext>
            </a:extLst>
          </p:cNvPr>
          <p:cNvSpPr/>
          <p:nvPr/>
        </p:nvSpPr>
        <p:spPr bwMode="auto">
          <a:xfrm>
            <a:off x="2744623" y="1727971"/>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5" name="Rounded Rectangle 45">
            <a:extLst>
              <a:ext uri="{FF2B5EF4-FFF2-40B4-BE49-F238E27FC236}">
                <a16:creationId xmlns:a16="http://schemas.microsoft.com/office/drawing/2014/main" id="{8BBF48D9-C57A-AD2F-D448-DD36457DD477}"/>
              </a:ext>
            </a:extLst>
          </p:cNvPr>
          <p:cNvSpPr/>
          <p:nvPr/>
        </p:nvSpPr>
        <p:spPr>
          <a:xfrm>
            <a:off x="2942451" y="2416698"/>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6" name="Rounded Rectangle 45">
            <a:extLst>
              <a:ext uri="{FF2B5EF4-FFF2-40B4-BE49-F238E27FC236}">
                <a16:creationId xmlns:a16="http://schemas.microsoft.com/office/drawing/2014/main" id="{D77F0B4C-7713-811D-2FA6-0F198C8DA521}"/>
              </a:ext>
            </a:extLst>
          </p:cNvPr>
          <p:cNvSpPr/>
          <p:nvPr/>
        </p:nvSpPr>
        <p:spPr>
          <a:xfrm>
            <a:off x="3160547" y="2986278"/>
            <a:ext cx="5870907" cy="1442318"/>
          </a:xfrm>
          <a:prstGeom prst="roundRect">
            <a:avLst>
              <a:gd name="adj" fmla="val 4528"/>
            </a:avLst>
          </a:prstGeom>
          <a:gradFill flip="none" rotWithShape="1">
            <a:gsLst>
              <a:gs pos="100000">
                <a:srgbClr val="4FD4FF"/>
              </a:gs>
              <a:gs pos="0">
                <a:srgbClr val="0078D4"/>
              </a:gs>
              <a:gs pos="60000">
                <a:srgbClr val="0078D4">
                  <a:lumMod val="60000"/>
                  <a:lumOff val="40000"/>
                </a:srgbClr>
              </a:gs>
            </a:gsLst>
            <a:lin ang="2700000" scaled="1"/>
            <a:tileRect/>
          </a:grad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eLake</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torage</a:t>
            </a:r>
          </a:p>
        </p:txBody>
      </p:sp>
      <p:sp>
        <p:nvSpPr>
          <p:cNvPr id="7" name="Cylinder 22">
            <a:extLst>
              <a:ext uri="{FF2B5EF4-FFF2-40B4-BE49-F238E27FC236}">
                <a16:creationId xmlns:a16="http://schemas.microsoft.com/office/drawing/2014/main" id="{64923BC1-D05F-63E6-6334-037EC1158A94}"/>
              </a:ext>
            </a:extLst>
          </p:cNvPr>
          <p:cNvSpPr/>
          <p:nvPr/>
        </p:nvSpPr>
        <p:spPr bwMode="auto">
          <a:xfrm>
            <a:off x="3376999"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Finance</a:t>
            </a:r>
          </a:p>
        </p:txBody>
      </p:sp>
      <p:sp>
        <p:nvSpPr>
          <p:cNvPr id="8" name="Cylinder 88">
            <a:extLst>
              <a:ext uri="{FF2B5EF4-FFF2-40B4-BE49-F238E27FC236}">
                <a16:creationId xmlns:a16="http://schemas.microsoft.com/office/drawing/2014/main" id="{876BFFB3-7972-242A-0782-3CE3EC179D2A}"/>
              </a:ext>
            </a:extLst>
          </p:cNvPr>
          <p:cNvSpPr/>
          <p:nvPr/>
        </p:nvSpPr>
        <p:spPr bwMode="auto">
          <a:xfrm>
            <a:off x="4184479"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Customer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360</a:t>
            </a:r>
          </a:p>
        </p:txBody>
      </p:sp>
      <p:sp>
        <p:nvSpPr>
          <p:cNvPr id="9" name="Cylinder 89">
            <a:extLst>
              <a:ext uri="{FF2B5EF4-FFF2-40B4-BE49-F238E27FC236}">
                <a16:creationId xmlns:a16="http://schemas.microsoft.com/office/drawing/2014/main" id="{C4B827B0-6CD5-6200-7F09-78A622149AF4}"/>
              </a:ext>
            </a:extLst>
          </p:cNvPr>
          <p:cNvSpPr/>
          <p:nvPr/>
        </p:nvSpPr>
        <p:spPr bwMode="auto">
          <a:xfrm>
            <a:off x="7269463"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Service</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Telemetry</a:t>
            </a:r>
          </a:p>
        </p:txBody>
      </p:sp>
      <p:sp>
        <p:nvSpPr>
          <p:cNvPr id="10" name="Cylinder 91">
            <a:extLst>
              <a:ext uri="{FF2B5EF4-FFF2-40B4-BE49-F238E27FC236}">
                <a16:creationId xmlns:a16="http://schemas.microsoft.com/office/drawing/2014/main" id="{E9043451-894D-7D88-AEAC-85EC48AA881F}"/>
              </a:ext>
            </a:extLst>
          </p:cNvPr>
          <p:cNvSpPr/>
          <p:nvPr/>
        </p:nvSpPr>
        <p:spPr bwMode="auto">
          <a:xfrm>
            <a:off x="8086908" y="3459130"/>
            <a:ext cx="734926" cy="496614"/>
          </a:xfrm>
          <a:prstGeom prst="can">
            <a:avLst/>
          </a:prstGeom>
          <a:gradFill flip="none" rotWithShape="1">
            <a:gsLst>
              <a:gs pos="100000">
                <a:srgbClr val="0078D4">
                  <a:lumMod val="75000"/>
                </a:srgbClr>
              </a:gs>
              <a:gs pos="4000">
                <a:srgbClr val="01447C"/>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non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Business</a:t>
            </a:r>
            <a:b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br>
            <a:r>
              <a:rPr kumimoji="0" lang="en-US" sz="900" b="1" i="0" u="none" strike="noStrike" kern="0" cap="none" spc="0" normalizeH="0" baseline="0" noProof="0">
                <a:ln>
                  <a:noFill/>
                </a:ln>
                <a:solidFill>
                  <a:srgbClr val="FFFFFF"/>
                </a:solidFill>
                <a:effectLst/>
                <a:uLnTx/>
                <a:uFillTx/>
                <a:latin typeface="Segoe UI"/>
                <a:ea typeface="+mn-ea"/>
                <a:cs typeface="Segoe UI" pitchFamily="34" charset="0"/>
              </a:rPr>
              <a:t>KPIs</a:t>
            </a:r>
          </a:p>
        </p:txBody>
      </p:sp>
      <p:grpSp>
        <p:nvGrpSpPr>
          <p:cNvPr id="11" name="Group 10">
            <a:extLst>
              <a:ext uri="{FF2B5EF4-FFF2-40B4-BE49-F238E27FC236}">
                <a16:creationId xmlns:a16="http://schemas.microsoft.com/office/drawing/2014/main" id="{ACFA4875-7411-1534-B19B-1E323AA3DC2D}"/>
              </a:ext>
            </a:extLst>
          </p:cNvPr>
          <p:cNvGrpSpPr/>
          <p:nvPr/>
        </p:nvGrpSpPr>
        <p:grpSpPr>
          <a:xfrm>
            <a:off x="3160548" y="4220901"/>
            <a:ext cx="5862832" cy="1187977"/>
            <a:chOff x="998539" y="3997499"/>
            <a:chExt cx="5862832" cy="1187977"/>
          </a:xfrm>
        </p:grpSpPr>
        <p:sp>
          <p:nvSpPr>
            <p:cNvPr id="12" name="Rounded Rectangle 81">
              <a:extLst>
                <a:ext uri="{FF2B5EF4-FFF2-40B4-BE49-F238E27FC236}">
                  <a16:creationId xmlns:a16="http://schemas.microsoft.com/office/drawing/2014/main" id="{A9C5B636-CF05-EA9B-1B88-A9BE426DF7DF}"/>
                </a:ext>
              </a:extLst>
            </p:cNvPr>
            <p:cNvSpPr/>
            <p:nvPr/>
          </p:nvSpPr>
          <p:spPr bwMode="auto">
            <a:xfrm>
              <a:off x="360007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13" name="Rounded Rectangle 82">
              <a:extLst>
                <a:ext uri="{FF2B5EF4-FFF2-40B4-BE49-F238E27FC236}">
                  <a16:creationId xmlns:a16="http://schemas.microsoft.com/office/drawing/2014/main" id="{EF3303AB-0EC2-1FAC-6432-860D372109A3}"/>
                </a:ext>
              </a:extLst>
            </p:cNvPr>
            <p:cNvSpPr/>
            <p:nvPr/>
          </p:nvSpPr>
          <p:spPr bwMode="auto">
            <a:xfrm>
              <a:off x="5279832" y="4305277"/>
              <a:ext cx="1581539"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14" name="Rounded Rectangle 76">
              <a:extLst>
                <a:ext uri="{FF2B5EF4-FFF2-40B4-BE49-F238E27FC236}">
                  <a16:creationId xmlns:a16="http://schemas.microsoft.com/office/drawing/2014/main" id="{08114085-ACB5-8BC6-55FC-7D3F3A20C5D7}"/>
                </a:ext>
              </a:extLst>
            </p:cNvPr>
            <p:cNvSpPr/>
            <p:nvPr/>
          </p:nvSpPr>
          <p:spPr bwMode="auto">
            <a:xfrm>
              <a:off x="998539" y="4305277"/>
              <a:ext cx="2511386" cy="880199"/>
            </a:xfrm>
            <a:prstGeom prst="roundRect">
              <a:avLst>
                <a:gd name="adj" fmla="val 7450"/>
              </a:avLst>
            </a:prstGeom>
            <a:solidFill>
              <a:srgbClr val="FFFFFF">
                <a:alpha val="5000"/>
              </a:srgbClr>
            </a:solidFill>
            <a:ln w="6350" cap="flat" cmpd="sng" algn="ctr">
              <a:solidFill>
                <a:srgbClr val="FFFFFF"/>
              </a:solidFill>
              <a:prstDash val="dash"/>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cxnSp>
          <p:nvCxnSpPr>
            <p:cNvPr id="15" name="Straight Connector 14">
              <a:extLst>
                <a:ext uri="{FF2B5EF4-FFF2-40B4-BE49-F238E27FC236}">
                  <a16:creationId xmlns:a16="http://schemas.microsoft.com/office/drawing/2014/main" id="{95212128-AAE1-8423-9131-36FAB35B46B1}"/>
                </a:ext>
              </a:extLst>
            </p:cNvPr>
            <p:cNvCxnSpPr>
              <a:cxnSpLocks/>
            </p:cNvCxnSpPr>
            <p:nvPr/>
          </p:nvCxnSpPr>
          <p:spPr>
            <a:xfrm flipV="1">
              <a:off x="42136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6" name="Straight Connector 15">
              <a:extLst>
                <a:ext uri="{FF2B5EF4-FFF2-40B4-BE49-F238E27FC236}">
                  <a16:creationId xmlns:a16="http://schemas.microsoft.com/office/drawing/2014/main" id="{03DA1147-1A0D-684F-53A5-565702F61A7E}"/>
                </a:ext>
              </a:extLst>
            </p:cNvPr>
            <p:cNvCxnSpPr>
              <a:cxnSpLocks/>
            </p:cNvCxnSpPr>
            <p:nvPr/>
          </p:nvCxnSpPr>
          <p:spPr>
            <a:xfrm flipV="1">
              <a:off x="2437345"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7" name="Straight Connector 16">
              <a:extLst>
                <a:ext uri="{FF2B5EF4-FFF2-40B4-BE49-F238E27FC236}">
                  <a16:creationId xmlns:a16="http://schemas.microsoft.com/office/drawing/2014/main" id="{BF829FE7-4201-377E-EA1E-7C712FE5C4FD}"/>
                </a:ext>
              </a:extLst>
            </p:cNvPr>
            <p:cNvCxnSpPr>
              <a:cxnSpLocks/>
            </p:cNvCxnSpPr>
            <p:nvPr/>
          </p:nvCxnSpPr>
          <p:spPr>
            <a:xfrm flipV="1">
              <a:off x="5889459"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8" name="Straight Connector 17">
              <a:extLst>
                <a:ext uri="{FF2B5EF4-FFF2-40B4-BE49-F238E27FC236}">
                  <a16:creationId xmlns:a16="http://schemas.microsoft.com/office/drawing/2014/main" id="{1933B35A-26D9-886B-DD16-0E26926160DD}"/>
                </a:ext>
              </a:extLst>
            </p:cNvPr>
            <p:cNvCxnSpPr>
              <a:cxnSpLocks/>
            </p:cNvCxnSpPr>
            <p:nvPr/>
          </p:nvCxnSpPr>
          <p:spPr>
            <a:xfrm flipV="1">
              <a:off x="1329784"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19" name="Straight Connector 18">
              <a:extLst>
                <a:ext uri="{FF2B5EF4-FFF2-40B4-BE49-F238E27FC236}">
                  <a16:creationId xmlns:a16="http://schemas.microsoft.com/office/drawing/2014/main" id="{F0A57A75-FCE8-25C3-3C63-CC766BE6A34C}"/>
                </a:ext>
              </a:extLst>
            </p:cNvPr>
            <p:cNvCxnSpPr>
              <a:cxnSpLocks/>
            </p:cNvCxnSpPr>
            <p:nvPr/>
          </p:nvCxnSpPr>
          <p:spPr>
            <a:xfrm flipV="1">
              <a:off x="1698971"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0" name="Straight Connector 19">
              <a:extLst>
                <a:ext uri="{FF2B5EF4-FFF2-40B4-BE49-F238E27FC236}">
                  <a16:creationId xmlns:a16="http://schemas.microsoft.com/office/drawing/2014/main" id="{FA9DD5AB-101F-648A-FEC2-9D87CF99FC26}"/>
                </a:ext>
              </a:extLst>
            </p:cNvPr>
            <p:cNvCxnSpPr>
              <a:cxnSpLocks/>
            </p:cNvCxnSpPr>
            <p:nvPr/>
          </p:nvCxnSpPr>
          <p:spPr>
            <a:xfrm flipV="1">
              <a:off x="2068158"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1" name="Straight Connector 20">
              <a:extLst>
                <a:ext uri="{FF2B5EF4-FFF2-40B4-BE49-F238E27FC236}">
                  <a16:creationId xmlns:a16="http://schemas.microsoft.com/office/drawing/2014/main" id="{1B0F7647-CB9C-8332-ED16-239521F63E34}"/>
                </a:ext>
              </a:extLst>
            </p:cNvPr>
            <p:cNvCxnSpPr>
              <a:cxnSpLocks/>
            </p:cNvCxnSpPr>
            <p:nvPr/>
          </p:nvCxnSpPr>
          <p:spPr>
            <a:xfrm flipV="1">
              <a:off x="2806532"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2" name="Straight Connector 21">
              <a:extLst>
                <a:ext uri="{FF2B5EF4-FFF2-40B4-BE49-F238E27FC236}">
                  <a16:creationId xmlns:a16="http://schemas.microsoft.com/office/drawing/2014/main" id="{93B1C16B-AC38-1E99-8AA2-4E3CE9A7BEC0}"/>
                </a:ext>
              </a:extLst>
            </p:cNvPr>
            <p:cNvCxnSpPr>
              <a:cxnSpLocks/>
            </p:cNvCxnSpPr>
            <p:nvPr/>
          </p:nvCxnSpPr>
          <p:spPr>
            <a:xfrm flipV="1">
              <a:off x="317572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3" name="Straight Connector 22">
              <a:extLst>
                <a:ext uri="{FF2B5EF4-FFF2-40B4-BE49-F238E27FC236}">
                  <a16:creationId xmlns:a16="http://schemas.microsoft.com/office/drawing/2014/main" id="{BF707D2C-8ABF-00B5-6C6F-EDD0D5984482}"/>
                </a:ext>
              </a:extLst>
            </p:cNvPr>
            <p:cNvCxnSpPr>
              <a:cxnSpLocks/>
            </p:cNvCxnSpPr>
            <p:nvPr/>
          </p:nvCxnSpPr>
          <p:spPr>
            <a:xfrm flipV="1">
              <a:off x="4575140" y="3997499"/>
              <a:ext cx="0" cy="307778"/>
            </a:xfrm>
            <a:prstGeom prst="line">
              <a:avLst/>
            </a:prstGeom>
            <a:noFill/>
            <a:ln w="6350" cap="flat" cmpd="sng" algn="ctr">
              <a:solidFill>
                <a:srgbClr val="FFFFFF"/>
              </a:solidFill>
              <a:prstDash val="dash"/>
              <a:headEnd type="none" w="lg" len="med"/>
              <a:tailEnd type="triangle" w="med" len="med"/>
            </a:ln>
            <a:effectLst/>
          </p:spPr>
        </p:cxnSp>
        <p:cxnSp>
          <p:nvCxnSpPr>
            <p:cNvPr id="24" name="Straight Connector 23">
              <a:extLst>
                <a:ext uri="{FF2B5EF4-FFF2-40B4-BE49-F238E27FC236}">
                  <a16:creationId xmlns:a16="http://schemas.microsoft.com/office/drawing/2014/main" id="{A8E6F53B-A30B-2349-7FEC-B5C410F6AB64}"/>
                </a:ext>
              </a:extLst>
            </p:cNvPr>
            <p:cNvCxnSpPr>
              <a:cxnSpLocks/>
            </p:cNvCxnSpPr>
            <p:nvPr/>
          </p:nvCxnSpPr>
          <p:spPr>
            <a:xfrm flipV="1">
              <a:off x="6241967" y="3997499"/>
              <a:ext cx="0" cy="307778"/>
            </a:xfrm>
            <a:prstGeom prst="line">
              <a:avLst/>
            </a:prstGeom>
            <a:noFill/>
            <a:ln w="6350" cap="flat" cmpd="sng" algn="ctr">
              <a:solidFill>
                <a:srgbClr val="FFFFFF"/>
              </a:solidFill>
              <a:prstDash val="dash"/>
              <a:headEnd type="none" w="lg" len="med"/>
              <a:tailEnd type="triangle" w="med" len="med"/>
            </a:ln>
            <a:effectLst/>
          </p:spPr>
        </p:cxnSp>
      </p:grpSp>
      <p:grpSp>
        <p:nvGrpSpPr>
          <p:cNvPr id="25" name="Group 24">
            <a:extLst>
              <a:ext uri="{FF2B5EF4-FFF2-40B4-BE49-F238E27FC236}">
                <a16:creationId xmlns:a16="http://schemas.microsoft.com/office/drawing/2014/main" id="{07F2793D-A0B7-16D9-0DEE-C3B787C88ABD}"/>
              </a:ext>
            </a:extLst>
          </p:cNvPr>
          <p:cNvGrpSpPr/>
          <p:nvPr/>
        </p:nvGrpSpPr>
        <p:grpSpPr>
          <a:xfrm>
            <a:off x="3342033" y="4676512"/>
            <a:ext cx="5689421" cy="594511"/>
            <a:chOff x="1180024" y="4453110"/>
            <a:chExt cx="5689421" cy="594511"/>
          </a:xfrm>
        </p:grpSpPr>
        <p:grpSp>
          <p:nvGrpSpPr>
            <p:cNvPr id="26" name="Group 25">
              <a:extLst>
                <a:ext uri="{FF2B5EF4-FFF2-40B4-BE49-F238E27FC236}">
                  <a16:creationId xmlns:a16="http://schemas.microsoft.com/office/drawing/2014/main" id="{8036790E-A384-F7C0-B8DF-E6320402EE5B}"/>
                </a:ext>
              </a:extLst>
            </p:cNvPr>
            <p:cNvGrpSpPr/>
            <p:nvPr/>
          </p:nvGrpSpPr>
          <p:grpSpPr>
            <a:xfrm>
              <a:off x="4046551" y="4453110"/>
              <a:ext cx="688580" cy="342450"/>
              <a:chOff x="3429012" y="4362864"/>
              <a:chExt cx="688580" cy="342450"/>
            </a:xfrm>
          </p:grpSpPr>
          <p:pic>
            <p:nvPicPr>
              <p:cNvPr id="40" name="Picture 39">
                <a:extLst>
                  <a:ext uri="{FF2B5EF4-FFF2-40B4-BE49-F238E27FC236}">
                    <a16:creationId xmlns:a16="http://schemas.microsoft.com/office/drawing/2014/main" id="{42B93B6F-1F8A-8716-AB92-B1486B528D8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429012" y="4362864"/>
                <a:ext cx="310487" cy="342450"/>
              </a:xfrm>
              <a:prstGeom prst="rect">
                <a:avLst/>
              </a:prstGeom>
            </p:spPr>
          </p:pic>
          <p:pic>
            <p:nvPicPr>
              <p:cNvPr id="41" name="Picture 40">
                <a:extLst>
                  <a:ext uri="{FF2B5EF4-FFF2-40B4-BE49-F238E27FC236}">
                    <a16:creationId xmlns:a16="http://schemas.microsoft.com/office/drawing/2014/main" id="{42A5D9FE-1C24-B7E0-8CE9-C6A1FF62294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07105" y="4362864"/>
                <a:ext cx="310487" cy="342450"/>
              </a:xfrm>
              <a:prstGeom prst="rect">
                <a:avLst/>
              </a:prstGeom>
            </p:spPr>
          </p:pic>
        </p:grpSp>
        <p:sp>
          <p:nvSpPr>
            <p:cNvPr id="27" name="TextBox 26">
              <a:extLst>
                <a:ext uri="{FF2B5EF4-FFF2-40B4-BE49-F238E27FC236}">
                  <a16:creationId xmlns:a16="http://schemas.microsoft.com/office/drawing/2014/main" id="{8F123E7F-9810-8EB3-4D58-A4FDAC53E641}"/>
                </a:ext>
              </a:extLst>
            </p:cNvPr>
            <p:cNvSpPr txBox="1"/>
            <p:nvPr/>
          </p:nvSpPr>
          <p:spPr>
            <a:xfrm>
              <a:off x="359199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mazon</a:t>
              </a:r>
            </a:p>
          </p:txBody>
        </p:sp>
        <p:grpSp>
          <p:nvGrpSpPr>
            <p:cNvPr id="28" name="Group 27">
              <a:extLst>
                <a:ext uri="{FF2B5EF4-FFF2-40B4-BE49-F238E27FC236}">
                  <a16:creationId xmlns:a16="http://schemas.microsoft.com/office/drawing/2014/main" id="{00F46D3B-2DC4-64EC-D6A5-83D55CFD83E9}"/>
                </a:ext>
              </a:extLst>
            </p:cNvPr>
            <p:cNvGrpSpPr/>
            <p:nvPr/>
          </p:nvGrpSpPr>
          <p:grpSpPr>
            <a:xfrm>
              <a:off x="5753092" y="4481948"/>
              <a:ext cx="635018" cy="284774"/>
              <a:chOff x="4185198" y="4391702"/>
              <a:chExt cx="635018" cy="284774"/>
            </a:xfrm>
          </p:grpSpPr>
          <p:pic>
            <p:nvPicPr>
              <p:cNvPr id="38" name="Picture 37">
                <a:extLst>
                  <a:ext uri="{FF2B5EF4-FFF2-40B4-BE49-F238E27FC236}">
                    <a16:creationId xmlns:a16="http://schemas.microsoft.com/office/drawing/2014/main" id="{F6219FBE-53D2-85D4-3247-BCC903F6E59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85198" y="4391702"/>
                <a:ext cx="283707" cy="284774"/>
              </a:xfrm>
              <a:prstGeom prst="rect">
                <a:avLst/>
              </a:prstGeom>
            </p:spPr>
          </p:pic>
          <p:pic>
            <p:nvPicPr>
              <p:cNvPr id="39" name="Picture 38">
                <a:extLst>
                  <a:ext uri="{FF2B5EF4-FFF2-40B4-BE49-F238E27FC236}">
                    <a16:creationId xmlns:a16="http://schemas.microsoft.com/office/drawing/2014/main" id="{679BB280-7B09-A592-E410-A2E0ADCC97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36509" y="4391702"/>
                <a:ext cx="283707" cy="284774"/>
              </a:xfrm>
              <a:prstGeom prst="rect">
                <a:avLst/>
              </a:prstGeom>
            </p:spPr>
          </p:pic>
        </p:grpSp>
        <p:sp>
          <p:nvSpPr>
            <p:cNvPr id="29" name="TextBox 28">
              <a:extLst>
                <a:ext uri="{FF2B5EF4-FFF2-40B4-BE49-F238E27FC236}">
                  <a16:creationId xmlns:a16="http://schemas.microsoft.com/office/drawing/2014/main" id="{9861ECF2-55BB-3318-C936-03B6446A6A13}"/>
                </a:ext>
              </a:extLst>
            </p:cNvPr>
            <p:cNvSpPr txBox="1"/>
            <p:nvPr/>
          </p:nvSpPr>
          <p:spPr>
            <a:xfrm>
              <a:off x="5271757"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Google</a:t>
              </a:r>
            </a:p>
          </p:txBody>
        </p:sp>
        <p:sp>
          <p:nvSpPr>
            <p:cNvPr id="30" name="TextBox 29">
              <a:extLst>
                <a:ext uri="{FF2B5EF4-FFF2-40B4-BE49-F238E27FC236}">
                  <a16:creationId xmlns:a16="http://schemas.microsoft.com/office/drawing/2014/main" id="{3DAA1D82-F21C-AA09-04DF-F7DF91CF5B30}"/>
                </a:ext>
              </a:extLst>
            </p:cNvPr>
            <p:cNvSpPr txBox="1"/>
            <p:nvPr/>
          </p:nvSpPr>
          <p:spPr>
            <a:xfrm>
              <a:off x="1455388" y="4862955"/>
              <a:ext cx="1597688" cy="184666"/>
            </a:xfrm>
            <a:prstGeom prst="rect">
              <a:avLst/>
            </a:prstGeom>
            <a:noFill/>
          </p:spPr>
          <p:txBody>
            <a:bodyPr wrap="square" lIns="0" tIns="0" rIns="0" bIns="0" rtlCol="0">
              <a:spAutoFit/>
            </a:bodyPr>
            <a:lstStyle/>
            <a:p>
              <a:pPr algn="ctr" defTabSz="914400">
                <a:defRPr/>
              </a:pPr>
              <a:r>
                <a:rPr lang="en-US" sz="1200">
                  <a:solidFill>
                    <a:srgbClr val="FFFFFF"/>
                  </a:solidFill>
                  <a:latin typeface="Segoe UI Semibold"/>
                </a:rPr>
                <a:t>Azure</a:t>
              </a:r>
            </a:p>
          </p:txBody>
        </p:sp>
        <p:grpSp>
          <p:nvGrpSpPr>
            <p:cNvPr id="31" name="Group 30">
              <a:extLst>
                <a:ext uri="{FF2B5EF4-FFF2-40B4-BE49-F238E27FC236}">
                  <a16:creationId xmlns:a16="http://schemas.microsoft.com/office/drawing/2014/main" id="{EB6A51F9-14EF-3861-5969-BE77CC49A23E}"/>
                </a:ext>
              </a:extLst>
            </p:cNvPr>
            <p:cNvGrpSpPr/>
            <p:nvPr/>
          </p:nvGrpSpPr>
          <p:grpSpPr>
            <a:xfrm>
              <a:off x="1180024" y="4453110"/>
              <a:ext cx="2148416" cy="342450"/>
              <a:chOff x="1212990" y="4362864"/>
              <a:chExt cx="2148416" cy="342450"/>
            </a:xfrm>
          </p:grpSpPr>
          <p:pic>
            <p:nvPicPr>
              <p:cNvPr id="32" name="Picture 31" descr="Icon&#10;&#10;Description automatically generated">
                <a:extLst>
                  <a:ext uri="{FF2B5EF4-FFF2-40B4-BE49-F238E27FC236}">
                    <a16:creationId xmlns:a16="http://schemas.microsoft.com/office/drawing/2014/main" id="{5E2B7492-492E-4476-8C03-8E32357F23AF}"/>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321001" y="4362864"/>
                <a:ext cx="301731" cy="342450"/>
              </a:xfrm>
              <a:prstGeom prst="rect">
                <a:avLst/>
              </a:prstGeom>
            </p:spPr>
          </p:pic>
          <p:pic>
            <p:nvPicPr>
              <p:cNvPr id="33" name="Picture 32" descr="Icon&#10;&#10;Description automatically generated">
                <a:extLst>
                  <a:ext uri="{FF2B5EF4-FFF2-40B4-BE49-F238E27FC236}">
                    <a16:creationId xmlns:a16="http://schemas.microsoft.com/office/drawing/2014/main" id="{9B4B5DA7-6BC1-2703-EE60-DFC4BA8F059A}"/>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2690338" y="4362864"/>
                <a:ext cx="301731" cy="342450"/>
              </a:xfrm>
              <a:prstGeom prst="rect">
                <a:avLst/>
              </a:prstGeom>
            </p:spPr>
          </p:pic>
          <p:pic>
            <p:nvPicPr>
              <p:cNvPr id="34" name="Picture 33" descr="Icon&#10;&#10;Description automatically generated">
                <a:extLst>
                  <a:ext uri="{FF2B5EF4-FFF2-40B4-BE49-F238E27FC236}">
                    <a16:creationId xmlns:a16="http://schemas.microsoft.com/office/drawing/2014/main" id="{D10CD909-936D-2CB5-1B69-FC0CB3AA5125}"/>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3059675" y="4362864"/>
                <a:ext cx="301731" cy="342450"/>
              </a:xfrm>
              <a:prstGeom prst="rect">
                <a:avLst/>
              </a:prstGeom>
            </p:spPr>
          </p:pic>
          <p:pic>
            <p:nvPicPr>
              <p:cNvPr id="35" name="Picture 34" descr="Icon&#10;&#10;Description automatically generated">
                <a:extLst>
                  <a:ext uri="{FF2B5EF4-FFF2-40B4-BE49-F238E27FC236}">
                    <a16:creationId xmlns:a16="http://schemas.microsoft.com/office/drawing/2014/main" id="{9BFFF321-25C4-6535-86F2-21F4115E140E}"/>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212990" y="4362864"/>
                <a:ext cx="301731" cy="342450"/>
              </a:xfrm>
              <a:prstGeom prst="rect">
                <a:avLst/>
              </a:prstGeom>
            </p:spPr>
          </p:pic>
          <p:pic>
            <p:nvPicPr>
              <p:cNvPr id="36" name="Picture 35" descr="Icon&#10;&#10;Description automatically generated">
                <a:extLst>
                  <a:ext uri="{FF2B5EF4-FFF2-40B4-BE49-F238E27FC236}">
                    <a16:creationId xmlns:a16="http://schemas.microsoft.com/office/drawing/2014/main" id="{2A05DD86-5C0B-688D-5EED-D1F760EB804D}"/>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582327" y="4362864"/>
                <a:ext cx="301731" cy="342450"/>
              </a:xfrm>
              <a:prstGeom prst="rect">
                <a:avLst/>
              </a:prstGeom>
            </p:spPr>
          </p:pic>
          <p:pic>
            <p:nvPicPr>
              <p:cNvPr id="37" name="Picture 36" descr="Icon&#10;&#10;Description automatically generated">
                <a:extLst>
                  <a:ext uri="{FF2B5EF4-FFF2-40B4-BE49-F238E27FC236}">
                    <a16:creationId xmlns:a16="http://schemas.microsoft.com/office/drawing/2014/main" id="{A73F4219-9F2E-1673-D884-B64679010E55}"/>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7136" r="26607"/>
              <a:stretch/>
            </p:blipFill>
            <p:spPr>
              <a:xfrm>
                <a:off x="1951664" y="4362864"/>
                <a:ext cx="301731" cy="342450"/>
              </a:xfrm>
              <a:prstGeom prst="rect">
                <a:avLst/>
              </a:prstGeom>
            </p:spPr>
          </p:pic>
        </p:grpSp>
      </p:grpSp>
      <p:sp>
        <p:nvSpPr>
          <p:cNvPr id="42" name="Arc 41">
            <a:extLst>
              <a:ext uri="{FF2B5EF4-FFF2-40B4-BE49-F238E27FC236}">
                <a16:creationId xmlns:a16="http://schemas.microsoft.com/office/drawing/2014/main" id="{64D68BDD-2BC7-1F48-DFFE-9D0E017DC09D}"/>
              </a:ext>
            </a:extLst>
          </p:cNvPr>
          <p:cNvSpPr/>
          <p:nvPr/>
        </p:nvSpPr>
        <p:spPr>
          <a:xfrm>
            <a:off x="3738165" y="3129585"/>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3" name="Arc 42">
            <a:extLst>
              <a:ext uri="{FF2B5EF4-FFF2-40B4-BE49-F238E27FC236}">
                <a16:creationId xmlns:a16="http://schemas.microsoft.com/office/drawing/2014/main" id="{D801485F-28DC-CBCB-631B-D6B9903E5318}"/>
              </a:ext>
            </a:extLst>
          </p:cNvPr>
          <p:cNvSpPr/>
          <p:nvPr/>
        </p:nvSpPr>
        <p:spPr>
          <a:xfrm>
            <a:off x="7636855" y="3114521"/>
            <a:ext cx="746837" cy="746837"/>
          </a:xfrm>
          <a:prstGeom prst="arc">
            <a:avLst>
              <a:gd name="adj1" fmla="val 10606347"/>
              <a:gd name="adj2" fmla="val 0"/>
            </a:avLst>
          </a:prstGeom>
          <a:noFill/>
          <a:ln w="6350" cap="flat" cmpd="sng" algn="ctr">
            <a:solidFill>
              <a:srgbClr val="FFFFFF"/>
            </a:solidFill>
            <a:prstDash val="dash"/>
            <a:headEnd type="triangl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4" name="Rounded Rectangle 14">
            <a:extLst>
              <a:ext uri="{FF2B5EF4-FFF2-40B4-BE49-F238E27FC236}">
                <a16:creationId xmlns:a16="http://schemas.microsoft.com/office/drawing/2014/main" id="{AC1F4524-4EED-786F-8882-F0ABB0C87B18}"/>
              </a:ext>
            </a:extLst>
          </p:cNvPr>
          <p:cNvSpPr/>
          <p:nvPr/>
        </p:nvSpPr>
        <p:spPr>
          <a:xfrm>
            <a:off x="3050633"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45" name="Rounded Rectangle 15">
            <a:extLst>
              <a:ext uri="{FF2B5EF4-FFF2-40B4-BE49-F238E27FC236}">
                <a16:creationId xmlns:a16="http://schemas.microsoft.com/office/drawing/2014/main" id="{7CB61B0E-CAAA-DCCF-A456-F27410F3500D}"/>
              </a:ext>
            </a:extLst>
          </p:cNvPr>
          <p:cNvSpPr/>
          <p:nvPr/>
        </p:nvSpPr>
        <p:spPr>
          <a:xfrm>
            <a:off x="4080005"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46" name="Rounded Rectangle 16">
            <a:extLst>
              <a:ext uri="{FF2B5EF4-FFF2-40B4-BE49-F238E27FC236}">
                <a16:creationId xmlns:a16="http://schemas.microsoft.com/office/drawing/2014/main" id="{1DE8844F-213B-1F1B-66FA-A2CD42152078}"/>
              </a:ext>
            </a:extLst>
          </p:cNvPr>
          <p:cNvSpPr/>
          <p:nvPr/>
        </p:nvSpPr>
        <p:spPr>
          <a:xfrm>
            <a:off x="5109377"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47" name="Rounded Rectangle 17">
            <a:extLst>
              <a:ext uri="{FF2B5EF4-FFF2-40B4-BE49-F238E27FC236}">
                <a16:creationId xmlns:a16="http://schemas.microsoft.com/office/drawing/2014/main" id="{BE2FA251-5E70-77DF-73CC-990E48D093EA}"/>
              </a:ext>
            </a:extLst>
          </p:cNvPr>
          <p:cNvSpPr/>
          <p:nvPr/>
        </p:nvSpPr>
        <p:spPr>
          <a:xfrm>
            <a:off x="6138749"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48" name="Rounded Rectangle 18">
            <a:extLst>
              <a:ext uri="{FF2B5EF4-FFF2-40B4-BE49-F238E27FC236}">
                <a16:creationId xmlns:a16="http://schemas.microsoft.com/office/drawing/2014/main" id="{F05A3CAC-B5B6-AD6B-7001-4CC07F1B2776}"/>
              </a:ext>
            </a:extLst>
          </p:cNvPr>
          <p:cNvSpPr/>
          <p:nvPr/>
        </p:nvSpPr>
        <p:spPr>
          <a:xfrm>
            <a:off x="7168121"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49" name="Rounded Rectangle 19">
            <a:extLst>
              <a:ext uri="{FF2B5EF4-FFF2-40B4-BE49-F238E27FC236}">
                <a16:creationId xmlns:a16="http://schemas.microsoft.com/office/drawing/2014/main" id="{6F05D36F-6850-856D-0FFD-B8DCEB8160F4}"/>
              </a:ext>
            </a:extLst>
          </p:cNvPr>
          <p:cNvSpPr/>
          <p:nvPr/>
        </p:nvSpPr>
        <p:spPr>
          <a:xfrm>
            <a:off x="8197739" y="2000713"/>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pic>
        <p:nvPicPr>
          <p:cNvPr id="3076" name="Picture 4" descr="One Ring - Wikipedia">
            <a:extLst>
              <a:ext uri="{FF2B5EF4-FFF2-40B4-BE49-F238E27FC236}">
                <a16:creationId xmlns:a16="http://schemas.microsoft.com/office/drawing/2014/main" id="{CDB328C7-6B34-CBD1-6257-32FF79CB8D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1942" y="0"/>
            <a:ext cx="73136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5218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6"/>
                                        </p:tgtEl>
                                        <p:attrNameLst>
                                          <p:attrName>style.visibility</p:attrName>
                                        </p:attrNameLst>
                                      </p:cBhvr>
                                      <p:to>
                                        <p:strVal val="visible"/>
                                      </p:to>
                                    </p:set>
                                    <p:animEffect transition="in" filter="fade">
                                      <p:cBhvr>
                                        <p:cTn id="7" dur="500"/>
                                        <p:tgtEl>
                                          <p:spTgt spid="30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is Fabric production ready?</a:t>
            </a:r>
            <a:endParaRPr lang="nl-BE" sz="7200" b="1" dirty="0"/>
          </a:p>
        </p:txBody>
      </p:sp>
    </p:spTree>
    <p:extLst>
      <p:ext uri="{BB962C8B-B14F-4D97-AF65-F5344CB8AC3E}">
        <p14:creationId xmlns:p14="http://schemas.microsoft.com/office/powerpoint/2010/main" val="388522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 but it does have a lot of promise</a:t>
            </a:r>
            <a:endParaRPr lang="nl-BE" sz="7200" b="1" dirty="0"/>
          </a:p>
        </p:txBody>
      </p:sp>
    </p:spTree>
    <p:extLst>
      <p:ext uri="{BB962C8B-B14F-4D97-AF65-F5344CB8AC3E}">
        <p14:creationId xmlns:p14="http://schemas.microsoft.com/office/powerpoint/2010/main" val="3840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D5DC25-4BBE-0376-0A54-3ED41D1D1ECF}"/>
              </a:ext>
            </a:extLst>
          </p:cNvPr>
          <p:cNvSpPr>
            <a:spLocks noGrp="1"/>
          </p:cNvSpPr>
          <p:nvPr>
            <p:ph type="title"/>
          </p:nvPr>
        </p:nvSpPr>
        <p:spPr/>
        <p:txBody>
          <a:bodyPr/>
          <a:lstStyle/>
          <a:p>
            <a:r>
              <a:rPr lang="en-US" dirty="0"/>
              <a:t>resources</a:t>
            </a:r>
            <a:endParaRPr lang="nl-BE" dirty="0"/>
          </a:p>
        </p:txBody>
      </p:sp>
      <p:sp>
        <p:nvSpPr>
          <p:cNvPr id="4" name="Content Placeholder 3">
            <a:extLst>
              <a:ext uri="{FF2B5EF4-FFF2-40B4-BE49-F238E27FC236}">
                <a16:creationId xmlns:a16="http://schemas.microsoft.com/office/drawing/2014/main" id="{F0B5AEEA-3911-E5CE-F922-71918C732320}"/>
              </a:ext>
            </a:extLst>
          </p:cNvPr>
          <p:cNvSpPr>
            <a:spLocks noGrp="1"/>
          </p:cNvSpPr>
          <p:nvPr>
            <p:ph idx="1"/>
          </p:nvPr>
        </p:nvSpPr>
        <p:spPr>
          <a:xfrm>
            <a:off x="838200" y="1457010"/>
            <a:ext cx="10515600" cy="5400989"/>
          </a:xfrm>
        </p:spPr>
        <p:txBody>
          <a:bodyPr>
            <a:normAutofit/>
          </a:bodyPr>
          <a:lstStyle/>
          <a:p>
            <a:r>
              <a:rPr lang="en-US" dirty="0">
                <a:hlinkClick r:id="rId2"/>
              </a:rPr>
              <a:t>Get Started with Microsoft Fabric</a:t>
            </a:r>
            <a:r>
              <a:rPr lang="en-US" dirty="0"/>
              <a:t> (free learning course)</a:t>
            </a:r>
          </a:p>
          <a:p>
            <a:r>
              <a:rPr lang="en-US" dirty="0">
                <a:hlinkClick r:id="rId3"/>
              </a:rPr>
              <a:t>What is Microsoft Fabric?</a:t>
            </a:r>
            <a:endParaRPr lang="en-US" dirty="0"/>
          </a:p>
          <a:p>
            <a:r>
              <a:rPr lang="en-US" dirty="0">
                <a:hlinkClick r:id="rId4"/>
              </a:rPr>
              <a:t>Microsoft Fabric Launch Event Day 1</a:t>
            </a:r>
            <a:r>
              <a:rPr lang="en-US" dirty="0"/>
              <a:t> and </a:t>
            </a:r>
            <a:r>
              <a:rPr lang="en-US" dirty="0">
                <a:hlinkClick r:id="rId5"/>
              </a:rPr>
              <a:t>Day 2</a:t>
            </a:r>
            <a:endParaRPr lang="en-US" dirty="0"/>
          </a:p>
          <a:p>
            <a:r>
              <a:rPr lang="en-US" dirty="0">
                <a:hlinkClick r:id="rId6"/>
              </a:rPr>
              <a:t>Microsoft Fabric blog</a:t>
            </a:r>
            <a:endParaRPr lang="en-US" dirty="0"/>
          </a:p>
          <a:p>
            <a:r>
              <a:rPr lang="en-US" dirty="0">
                <a:hlinkClick r:id="rId7"/>
              </a:rPr>
              <a:t>Get Started documentation</a:t>
            </a:r>
            <a:endParaRPr lang="en-US" dirty="0"/>
          </a:p>
          <a:p>
            <a:r>
              <a:rPr lang="en-US" dirty="0"/>
              <a:t>Ignite Announcements:</a:t>
            </a:r>
          </a:p>
          <a:p>
            <a:pPr lvl="1"/>
            <a:r>
              <a:rPr lang="en-US" dirty="0">
                <a:hlinkClick r:id="rId8"/>
              </a:rPr>
              <a:t>Prepare your data for AI innovation with Microsoft Fabric—now generally available</a:t>
            </a:r>
            <a:endParaRPr lang="en-US" dirty="0"/>
          </a:p>
          <a:p>
            <a:pPr lvl="1"/>
            <a:r>
              <a:rPr lang="en-US" dirty="0">
                <a:hlinkClick r:id="rId9"/>
              </a:rPr>
              <a:t>Fabric workloads are now generally available!</a:t>
            </a:r>
            <a:endParaRPr lang="en-US" dirty="0"/>
          </a:p>
          <a:p>
            <a:pPr lvl="1"/>
            <a:r>
              <a:rPr lang="en-US" dirty="0">
                <a:hlinkClick r:id="rId10"/>
              </a:rPr>
              <a:t>Empower Power BI users with Microsoft Fabric and Copilot</a:t>
            </a:r>
            <a:endParaRPr lang="en-US" dirty="0"/>
          </a:p>
          <a:p>
            <a:r>
              <a:rPr lang="en-US" dirty="0">
                <a:hlinkClick r:id="rId11"/>
              </a:rPr>
              <a:t>Microsoft Fabric @ mssqltips.com</a:t>
            </a:r>
            <a:endParaRPr lang="en-US" dirty="0"/>
          </a:p>
        </p:txBody>
      </p:sp>
    </p:spTree>
    <p:extLst>
      <p:ext uri="{BB962C8B-B14F-4D97-AF65-F5344CB8AC3E}">
        <p14:creationId xmlns:p14="http://schemas.microsoft.com/office/powerpoint/2010/main" val="7260805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66A9FB-463B-9E25-ED20-D36959E12FD0}"/>
              </a:ext>
            </a:extLst>
          </p:cNvPr>
          <p:cNvSpPr>
            <a:spLocks noGrp="1"/>
          </p:cNvSpPr>
          <p:nvPr>
            <p:ph type="ctrTitle"/>
          </p:nvPr>
        </p:nvSpPr>
        <p:spPr/>
        <p:txBody>
          <a:bodyPr>
            <a:normAutofit fontScale="90000"/>
          </a:bodyPr>
          <a:lstStyle/>
          <a:p>
            <a:r>
              <a:rPr lang="en-US" sz="8000" dirty="0"/>
              <a:t> </a:t>
            </a:r>
            <a:br>
              <a:rPr lang="en-US" sz="16600" dirty="0"/>
            </a:br>
            <a:r>
              <a:rPr lang="en-US" sz="16600" dirty="0"/>
              <a:t>thank you</a:t>
            </a:r>
            <a:endParaRPr lang="nl-BE" sz="16600" dirty="0"/>
          </a:p>
        </p:txBody>
      </p:sp>
    </p:spTree>
    <p:extLst>
      <p:ext uri="{BB962C8B-B14F-4D97-AF65-F5344CB8AC3E}">
        <p14:creationId xmlns:p14="http://schemas.microsoft.com/office/powerpoint/2010/main" val="86085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2F42A54-4FF2-C5D7-0DD3-DEC49A78D5B2}"/>
              </a:ext>
            </a:extLst>
          </p:cNvPr>
          <p:cNvGrpSpPr/>
          <p:nvPr/>
        </p:nvGrpSpPr>
        <p:grpSpPr>
          <a:xfrm>
            <a:off x="7866967" y="1808217"/>
            <a:ext cx="3543005" cy="4414031"/>
            <a:chOff x="8440921" y="1593047"/>
            <a:chExt cx="3543005" cy="4414031"/>
          </a:xfrm>
        </p:grpSpPr>
        <p:sp>
          <p:nvSpPr>
            <p:cNvPr id="4" name="TextBox 3">
              <a:extLst>
                <a:ext uri="{FF2B5EF4-FFF2-40B4-BE49-F238E27FC236}">
                  <a16:creationId xmlns:a16="http://schemas.microsoft.com/office/drawing/2014/main" id="{FAF2F6F5-D75D-E8EC-26C8-3AF9794B9DA8}"/>
                </a:ext>
              </a:extLst>
            </p:cNvPr>
            <p:cNvSpPr txBox="1"/>
            <p:nvPr/>
          </p:nvSpPr>
          <p:spPr>
            <a:xfrm>
              <a:off x="8735096" y="2064451"/>
              <a:ext cx="3248830" cy="3872855"/>
            </a:xfrm>
            <a:prstGeom prst="rect">
              <a:avLst/>
            </a:prstGeom>
            <a:noFill/>
          </p:spPr>
          <p:txBody>
            <a:bodyPr wrap="square" lIns="0" rtlCol="0">
              <a:sp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Onboarding and trials</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ign-on</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Navigation model</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UX model</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Workspace organization</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Collaboration experience</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Data Lake</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torage format</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Data copy for all engines</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ecurity model</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CI/CD</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Monitoring hub</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Data Hub</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Governance &amp; compliance</a:t>
              </a:r>
            </a:p>
          </p:txBody>
        </p:sp>
        <p:sp>
          <p:nvSpPr>
            <p:cNvPr id="5" name="!!Line2">
              <a:extLst>
                <a:ext uri="{FF2B5EF4-FFF2-40B4-BE49-F238E27FC236}">
                  <a16:creationId xmlns:a16="http://schemas.microsoft.com/office/drawing/2014/main" id="{50FBA1A8-3CA1-1D4D-2129-FA6D0162C722}"/>
                </a:ext>
              </a:extLst>
            </p:cNvPr>
            <p:cNvSpPr/>
            <p:nvPr/>
          </p:nvSpPr>
          <p:spPr bwMode="auto">
            <a:xfrm>
              <a:off x="8440921" y="1593047"/>
              <a:ext cx="959304" cy="4414031"/>
            </a:xfrm>
            <a:prstGeom prst="roundRect">
              <a:avLst>
                <a:gd name="adj" fmla="val 8336"/>
              </a:avLst>
            </a:prstGeom>
            <a:noFill/>
            <a:ln w="6350" cap="flat" cmpd="sng" algn="ctr">
              <a:gradFill flip="none" rotWithShape="1">
                <a:gsLst>
                  <a:gs pos="0">
                    <a:srgbClr val="0078D4"/>
                  </a:gs>
                  <a:gs pos="100000">
                    <a:srgbClr val="FFFFFF">
                      <a:alpha val="0"/>
                    </a:srgbClr>
                  </a:gs>
                  <a:gs pos="26000">
                    <a:srgbClr val="FFFFFF">
                      <a:alpha val="0"/>
                    </a:srgbClr>
                  </a:gs>
                </a:gsLst>
                <a:lin ang="0" scaled="1"/>
                <a:tileRect/>
              </a:gra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TextBox 5">
              <a:extLst>
                <a:ext uri="{FF2B5EF4-FFF2-40B4-BE49-F238E27FC236}">
                  <a16:creationId xmlns:a16="http://schemas.microsoft.com/office/drawing/2014/main" id="{5C3B644E-6707-BEE0-7333-4604DBB7F1F1}"/>
                </a:ext>
              </a:extLst>
            </p:cNvPr>
            <p:cNvSpPr txBox="1"/>
            <p:nvPr/>
          </p:nvSpPr>
          <p:spPr>
            <a:xfrm>
              <a:off x="8735096" y="1698428"/>
              <a:ext cx="1048932" cy="307777"/>
            </a:xfrm>
            <a:prstGeom prst="rect">
              <a:avLst/>
            </a:prstGeom>
            <a:noFill/>
          </p:spPr>
          <p:txBody>
            <a:bodyPr wrap="none" lIns="36000" tIns="0" rIns="3600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8D4"/>
                  </a:solidFill>
                  <a:effectLst/>
                  <a:uLnTx/>
                  <a:uFillTx/>
                  <a:latin typeface="Segoe UI" panose="020B0502040204020203" pitchFamily="34" charset="0"/>
                  <a:cs typeface="Segoe UI" panose="020B0502040204020203" pitchFamily="34" charset="0"/>
                </a:rPr>
                <a:t>Single…</a:t>
              </a:r>
            </a:p>
          </p:txBody>
        </p:sp>
      </p:grpSp>
      <p:grpSp>
        <p:nvGrpSpPr>
          <p:cNvPr id="7" name="Group 6">
            <a:extLst>
              <a:ext uri="{FF2B5EF4-FFF2-40B4-BE49-F238E27FC236}">
                <a16:creationId xmlns:a16="http://schemas.microsoft.com/office/drawing/2014/main" id="{5A9D353B-8489-202C-44A7-A87078AC1A7A}"/>
              </a:ext>
            </a:extLst>
          </p:cNvPr>
          <p:cNvGrpSpPr/>
          <p:nvPr/>
        </p:nvGrpSpPr>
        <p:grpSpPr>
          <a:xfrm>
            <a:off x="584200" y="1881188"/>
            <a:ext cx="6702754" cy="4184564"/>
            <a:chOff x="584200" y="1881188"/>
            <a:chExt cx="6702754" cy="4184564"/>
          </a:xfrm>
        </p:grpSpPr>
        <p:sp>
          <p:nvSpPr>
            <p:cNvPr id="8" name="Rounded Rectangle 25">
              <a:extLst>
                <a:ext uri="{FF2B5EF4-FFF2-40B4-BE49-F238E27FC236}">
                  <a16:creationId xmlns:a16="http://schemas.microsoft.com/office/drawing/2014/main" id="{6576BA1C-8B65-3CCD-ACBC-C7A39FA58F87}"/>
                </a:ext>
              </a:extLst>
            </p:cNvPr>
            <p:cNvSpPr/>
            <p:nvPr/>
          </p:nvSpPr>
          <p:spPr bwMode="auto">
            <a:xfrm>
              <a:off x="584200" y="1881188"/>
              <a:ext cx="6702754" cy="4184564"/>
            </a:xfrm>
            <a:prstGeom prst="roundRect">
              <a:avLst>
                <a:gd name="adj" fmla="val 3641"/>
              </a:avLst>
            </a:prstGeom>
            <a:solidFill>
              <a:srgbClr val="FFFFFF"/>
            </a:solidFill>
            <a:ln w="9525" cap="flat" cmpd="sng" algn="ctr">
              <a:noFill/>
              <a:prstDash val="solid"/>
              <a:headEnd type="none" w="med" len="med"/>
              <a:tailEnd type="none" w="med" len="med"/>
            </a:ln>
            <a:effectLst>
              <a:outerShdw blurRad="288696" dist="38100" dir="2700000" algn="tl" rotWithShape="0">
                <a:prstClr val="black">
                  <a:alpha val="19774"/>
                </a:prstClr>
              </a:outerShdw>
            </a:effectLst>
          </p:spPr>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tab pos="5195888" algn="l"/>
                </a:tabLst>
                <a:defRPr/>
              </a:pPr>
              <a:endParaRPr kumimoji="0" lang="en-US" sz="2353" b="1" i="0" u="none" strike="noStrike" kern="0" cap="none" spc="0" normalizeH="0" baseline="0" noProof="0">
                <a:ln>
                  <a:noFill/>
                </a:ln>
                <a:gradFill>
                  <a:gsLst>
                    <a:gs pos="0">
                      <a:srgbClr val="FFFFFF"/>
                    </a:gs>
                    <a:gs pos="100000">
                      <a:srgbClr val="FFFFFF"/>
                    </a:gs>
                  </a:gsLst>
                  <a:lin ang="5400000" scaled="0"/>
                </a:gradFill>
                <a:effectLst/>
                <a:uLnTx/>
                <a:uFillTx/>
                <a:cs typeface="Segoe UI" pitchFamily="34" charset="0"/>
              </a:endParaRPr>
            </a:p>
          </p:txBody>
        </p:sp>
        <p:sp>
          <p:nvSpPr>
            <p:cNvPr id="9" name="Rounded Rectangle 45">
              <a:extLst>
                <a:ext uri="{FF2B5EF4-FFF2-40B4-BE49-F238E27FC236}">
                  <a16:creationId xmlns:a16="http://schemas.microsoft.com/office/drawing/2014/main" id="{C24C3FCE-9E3A-DA0D-227E-CEADF34BB398}"/>
                </a:ext>
              </a:extLst>
            </p:cNvPr>
            <p:cNvSpPr/>
            <p:nvPr/>
          </p:nvSpPr>
          <p:spPr>
            <a:xfrm>
              <a:off x="782028" y="2571921"/>
              <a:ext cx="6307098" cy="3219083"/>
            </a:xfrm>
            <a:prstGeom prst="roundRect">
              <a:avLst>
                <a:gd name="adj" fmla="val 3289"/>
              </a:avLst>
            </a:prstGeom>
            <a:gradFill flip="none" rotWithShape="1">
              <a:gsLst>
                <a:gs pos="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Semibold"/>
              </a:endParaRPr>
            </a:p>
          </p:txBody>
        </p:sp>
        <p:sp>
          <p:nvSpPr>
            <p:cNvPr id="10" name="TextBox 9">
              <a:extLst>
                <a:ext uri="{FF2B5EF4-FFF2-40B4-BE49-F238E27FC236}">
                  <a16:creationId xmlns:a16="http://schemas.microsoft.com/office/drawing/2014/main" id="{6200597C-7D98-B533-D0C1-B5B33F313079}"/>
                </a:ext>
              </a:extLst>
            </p:cNvPr>
            <p:cNvSpPr txBox="1"/>
            <p:nvPr/>
          </p:nvSpPr>
          <p:spPr>
            <a:xfrm>
              <a:off x="1777965" y="5283840"/>
              <a:ext cx="4315223" cy="3077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a:cs typeface="Segoe UI" panose="020B0502040204020203" pitchFamily="34" charset="0"/>
                </a:rPr>
                <a:t>SaaS foundation</a:t>
              </a:r>
            </a:p>
          </p:txBody>
        </p:sp>
        <p:grpSp>
          <p:nvGrpSpPr>
            <p:cNvPr id="11" name="Group 10">
              <a:extLst>
                <a:ext uri="{FF2B5EF4-FFF2-40B4-BE49-F238E27FC236}">
                  <a16:creationId xmlns:a16="http://schemas.microsoft.com/office/drawing/2014/main" id="{B4457770-69DE-47A7-3F3F-B2070B905BB3}"/>
                </a:ext>
              </a:extLst>
            </p:cNvPr>
            <p:cNvGrpSpPr/>
            <p:nvPr/>
          </p:nvGrpSpPr>
          <p:grpSpPr>
            <a:xfrm>
              <a:off x="1000123" y="3171889"/>
              <a:ext cx="5870907" cy="1943488"/>
              <a:chOff x="1051637" y="3142582"/>
              <a:chExt cx="6457997" cy="2137835"/>
            </a:xfrm>
            <a:gradFill flip="none" rotWithShape="1">
              <a:gsLst>
                <a:gs pos="100000">
                  <a:srgbClr val="4FD4FF"/>
                </a:gs>
                <a:gs pos="0">
                  <a:srgbClr val="0078D4"/>
                </a:gs>
                <a:gs pos="60000">
                  <a:srgbClr val="0078D4">
                    <a:lumMod val="60000"/>
                    <a:lumOff val="40000"/>
                  </a:srgbClr>
                </a:gs>
              </a:gsLst>
              <a:lin ang="2700000" scaled="1"/>
              <a:tileRect/>
            </a:gradFill>
          </p:grpSpPr>
          <p:sp>
            <p:nvSpPr>
              <p:cNvPr id="19" name="Rounded Rectangle 45">
                <a:extLst>
                  <a:ext uri="{FF2B5EF4-FFF2-40B4-BE49-F238E27FC236}">
                    <a16:creationId xmlns:a16="http://schemas.microsoft.com/office/drawing/2014/main" id="{5DCF5793-BCF2-AA96-312D-1851928CCF27}"/>
                  </a:ext>
                </a:extLst>
              </p:cNvPr>
              <p:cNvSpPr/>
              <p:nvPr/>
            </p:nvSpPr>
            <p:spPr>
              <a:xfrm>
                <a:off x="1051637" y="3142582"/>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mn-ea"/>
                    <a:cs typeface="Segoe UI" pitchFamily="34" charset="0"/>
                  </a:rPr>
                  <a:t>AI Assisted</a:t>
                </a:r>
              </a:p>
            </p:txBody>
          </p:sp>
          <p:sp>
            <p:nvSpPr>
              <p:cNvPr id="20" name="Rounded Rectangle 45">
                <a:extLst>
                  <a:ext uri="{FF2B5EF4-FFF2-40B4-BE49-F238E27FC236}">
                    <a16:creationId xmlns:a16="http://schemas.microsoft.com/office/drawing/2014/main" id="{B6D0E0D8-003B-4DB7-9ACE-C034D8BD0F6B}"/>
                  </a:ext>
                </a:extLst>
              </p:cNvPr>
              <p:cNvSpPr/>
              <p:nvPr/>
            </p:nvSpPr>
            <p:spPr>
              <a:xfrm>
                <a:off x="1051637" y="3582959"/>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Shared Workspaces</a:t>
                </a:r>
              </a:p>
            </p:txBody>
          </p:sp>
          <p:sp>
            <p:nvSpPr>
              <p:cNvPr id="21" name="Rounded Rectangle 45">
                <a:extLst>
                  <a:ext uri="{FF2B5EF4-FFF2-40B4-BE49-F238E27FC236}">
                    <a16:creationId xmlns:a16="http://schemas.microsoft.com/office/drawing/2014/main" id="{45AA9933-2181-C9C4-069B-9F20EFD4C625}"/>
                  </a:ext>
                </a:extLst>
              </p:cNvPr>
              <p:cNvSpPr/>
              <p:nvPr/>
            </p:nvSpPr>
            <p:spPr>
              <a:xfrm>
                <a:off x="1051637" y="4023336"/>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Universal Compute Capacities</a:t>
                </a:r>
              </a:p>
            </p:txBody>
          </p:sp>
          <p:sp>
            <p:nvSpPr>
              <p:cNvPr id="22" name="Rounded Rectangle 45">
                <a:extLst>
                  <a:ext uri="{FF2B5EF4-FFF2-40B4-BE49-F238E27FC236}">
                    <a16:creationId xmlns:a16="http://schemas.microsoft.com/office/drawing/2014/main" id="{3DDDE2DE-6A04-4DAC-E183-BEEEA3390EEF}"/>
                  </a:ext>
                </a:extLst>
              </p:cNvPr>
              <p:cNvSpPr/>
              <p:nvPr/>
            </p:nvSpPr>
            <p:spPr>
              <a:xfrm>
                <a:off x="1051637" y="4463713"/>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itchFamily="34" charset="0"/>
                  </a:rPr>
                  <a:t>OneSecurity</a:t>
                </a:r>
              </a:p>
            </p:txBody>
          </p:sp>
          <p:sp>
            <p:nvSpPr>
              <p:cNvPr id="23" name="Rounded Rectangle 45">
                <a:extLst>
                  <a:ext uri="{FF2B5EF4-FFF2-40B4-BE49-F238E27FC236}">
                    <a16:creationId xmlns:a16="http://schemas.microsoft.com/office/drawing/2014/main" id="{75C82EE4-EE2F-CB38-60EC-C5FE1FF0B820}"/>
                  </a:ext>
                </a:extLst>
              </p:cNvPr>
              <p:cNvSpPr/>
              <p:nvPr/>
            </p:nvSpPr>
            <p:spPr>
              <a:xfrm>
                <a:off x="1051637" y="4904092"/>
                <a:ext cx="6457997" cy="376325"/>
              </a:xfrm>
              <a:prstGeom prst="rect">
                <a:avLst/>
              </a:prstGeom>
              <a:grpFill/>
              <a:ln>
                <a:no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err="1">
                    <a:ln>
                      <a:noFill/>
                    </a:ln>
                    <a:solidFill>
                      <a:srgbClr val="FFFFFF"/>
                    </a:solidFill>
                    <a:effectLst/>
                    <a:uLnTx/>
                    <a:uFillTx/>
                    <a:latin typeface="Segoe UI Semibold"/>
                    <a:ea typeface="+mn-ea"/>
                    <a:cs typeface="Segoe UI" pitchFamily="34" charset="0"/>
                  </a:rPr>
                  <a:t>OneLake</a:t>
                </a:r>
                <a:endParaRPr kumimoji="0" lang="en-US" sz="1400" b="0" i="0" u="none" strike="noStrike" kern="0" cap="none" spc="0" normalizeH="0" baseline="0" noProof="0" dirty="0">
                  <a:ln>
                    <a:noFill/>
                  </a:ln>
                  <a:solidFill>
                    <a:srgbClr val="FFFFFF"/>
                  </a:solidFill>
                  <a:effectLst/>
                  <a:uLnTx/>
                  <a:uFillTx/>
                  <a:latin typeface="Segoe UI Semibold"/>
                  <a:ea typeface="+mn-ea"/>
                  <a:cs typeface="Segoe UI" pitchFamily="34" charset="0"/>
                </a:endParaRPr>
              </a:p>
            </p:txBody>
          </p:sp>
        </p:grpSp>
        <p:grpSp>
          <p:nvGrpSpPr>
            <p:cNvPr id="12" name="Group 11">
              <a:extLst>
                <a:ext uri="{FF2B5EF4-FFF2-40B4-BE49-F238E27FC236}">
                  <a16:creationId xmlns:a16="http://schemas.microsoft.com/office/drawing/2014/main" id="{9CB93A52-A5AD-E8C3-57E0-A914A2333602}"/>
                </a:ext>
              </a:extLst>
            </p:cNvPr>
            <p:cNvGrpSpPr/>
            <p:nvPr/>
          </p:nvGrpSpPr>
          <p:grpSpPr>
            <a:xfrm>
              <a:off x="888624" y="2155936"/>
              <a:ext cx="6093906" cy="831968"/>
              <a:chOff x="888624" y="2155936"/>
              <a:chExt cx="6093906" cy="831968"/>
            </a:xfrm>
          </p:grpSpPr>
          <p:sp>
            <p:nvSpPr>
              <p:cNvPr id="13" name="Rounded Rectangle 8">
                <a:extLst>
                  <a:ext uri="{FF2B5EF4-FFF2-40B4-BE49-F238E27FC236}">
                    <a16:creationId xmlns:a16="http://schemas.microsoft.com/office/drawing/2014/main" id="{95BBC0B6-4F20-20BC-F897-39FF0E809B3A}"/>
                  </a:ext>
                </a:extLst>
              </p:cNvPr>
              <p:cNvSpPr/>
              <p:nvPr/>
            </p:nvSpPr>
            <p:spPr>
              <a:xfrm>
                <a:off x="888624"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Integration</a:t>
                </a:r>
              </a:p>
            </p:txBody>
          </p:sp>
          <p:sp>
            <p:nvSpPr>
              <p:cNvPr id="14" name="Rounded Rectangle 9">
                <a:extLst>
                  <a:ext uri="{FF2B5EF4-FFF2-40B4-BE49-F238E27FC236}">
                    <a16:creationId xmlns:a16="http://schemas.microsoft.com/office/drawing/2014/main" id="{21C01CCF-1AFF-7B8E-8827-EDBCEDBD79B9}"/>
                  </a:ext>
                </a:extLst>
              </p:cNvPr>
              <p:cNvSpPr/>
              <p:nvPr/>
            </p:nvSpPr>
            <p:spPr>
              <a:xfrm>
                <a:off x="1917996"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Engineering</a:t>
                </a:r>
              </a:p>
            </p:txBody>
          </p:sp>
          <p:sp>
            <p:nvSpPr>
              <p:cNvPr id="15" name="Rounded Rectangle 10">
                <a:extLst>
                  <a:ext uri="{FF2B5EF4-FFF2-40B4-BE49-F238E27FC236}">
                    <a16:creationId xmlns:a16="http://schemas.microsoft.com/office/drawing/2014/main" id="{EABD1034-EF14-2C9F-E3F3-B36CB9702F0B}"/>
                  </a:ext>
                </a:extLst>
              </p:cNvPr>
              <p:cNvSpPr/>
              <p:nvPr/>
            </p:nvSpPr>
            <p:spPr>
              <a:xfrm>
                <a:off x="2947368"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Warehousing</a:t>
                </a:r>
              </a:p>
            </p:txBody>
          </p:sp>
          <p:sp>
            <p:nvSpPr>
              <p:cNvPr id="16" name="Rounded Rectangle 11">
                <a:extLst>
                  <a:ext uri="{FF2B5EF4-FFF2-40B4-BE49-F238E27FC236}">
                    <a16:creationId xmlns:a16="http://schemas.microsoft.com/office/drawing/2014/main" id="{B0669EAD-449A-7B41-3BC3-7C0C4E9E2154}"/>
                  </a:ext>
                </a:extLst>
              </p:cNvPr>
              <p:cNvSpPr/>
              <p:nvPr/>
            </p:nvSpPr>
            <p:spPr>
              <a:xfrm>
                <a:off x="3976740"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Re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Time</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Analytics</a:t>
                </a:r>
              </a:p>
            </p:txBody>
          </p:sp>
          <p:sp>
            <p:nvSpPr>
              <p:cNvPr id="17" name="Rounded Rectangle 12">
                <a:extLst>
                  <a:ext uri="{FF2B5EF4-FFF2-40B4-BE49-F238E27FC236}">
                    <a16:creationId xmlns:a16="http://schemas.microsoft.com/office/drawing/2014/main" id="{CA8CEA87-867E-5AA3-6CC4-D0F3B786E68A}"/>
                  </a:ext>
                </a:extLst>
              </p:cNvPr>
              <p:cNvSpPr/>
              <p:nvPr/>
            </p:nvSpPr>
            <p:spPr>
              <a:xfrm>
                <a:off x="5006112" y="2156304"/>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Data </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Science</a:t>
                </a:r>
              </a:p>
            </p:txBody>
          </p:sp>
          <p:sp>
            <p:nvSpPr>
              <p:cNvPr id="18" name="Rounded Rectangle 13">
                <a:extLst>
                  <a:ext uri="{FF2B5EF4-FFF2-40B4-BE49-F238E27FC236}">
                    <a16:creationId xmlns:a16="http://schemas.microsoft.com/office/drawing/2014/main" id="{7A3DCA83-E030-830F-0B53-81E174D60312}"/>
                  </a:ext>
                </a:extLst>
              </p:cNvPr>
              <p:cNvSpPr/>
              <p:nvPr/>
            </p:nvSpPr>
            <p:spPr>
              <a:xfrm>
                <a:off x="6035730" y="2155936"/>
                <a:ext cx="946800" cy="831600"/>
              </a:xfrm>
              <a:prstGeom prst="roundRect">
                <a:avLst>
                  <a:gd name="adj" fmla="val 6586"/>
                </a:avLst>
              </a:prstGeom>
              <a:gradFill flip="none" rotWithShape="1">
                <a:gsLst>
                  <a:gs pos="20000">
                    <a:srgbClr val="243A5E"/>
                  </a:gs>
                  <a:gs pos="100000">
                    <a:srgbClr val="0078D4"/>
                  </a:gs>
                </a:gsLst>
                <a:lin ang="5400000" scaled="1"/>
                <a:tileRect/>
              </a:grad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rPr>
                  <a:t>Business</a:t>
                </a:r>
                <a:br>
                  <a:rPr kumimoji="0" lang="en-US" sz="1100" b="0" i="0" u="none" strike="noStrike" kern="0" cap="none" spc="0" normalizeH="0" baseline="0" noProof="0">
                    <a:ln>
                      <a:noFill/>
                    </a:ln>
                    <a:solidFill>
                      <a:srgbClr val="FFFFFF"/>
                    </a:solidFill>
                    <a:effectLst/>
                    <a:uLnTx/>
                    <a:uFillTx/>
                    <a:latin typeface="Segoe UI Semibold"/>
                  </a:rPr>
                </a:br>
                <a:r>
                  <a:rPr kumimoji="0" lang="en-US" sz="1100" b="0" i="0" u="none" strike="noStrike" kern="0" cap="none" spc="0" normalizeH="0" baseline="0" noProof="0">
                    <a:ln>
                      <a:noFill/>
                    </a:ln>
                    <a:solidFill>
                      <a:srgbClr val="FFFFFF"/>
                    </a:solidFill>
                    <a:effectLst/>
                    <a:uLnTx/>
                    <a:uFillTx/>
                    <a:latin typeface="Segoe UI Semibold"/>
                  </a:rPr>
                  <a:t>Intelligence</a:t>
                </a:r>
              </a:p>
            </p:txBody>
          </p:sp>
        </p:grpSp>
      </p:grpSp>
      <p:sp>
        <p:nvSpPr>
          <p:cNvPr id="24" name="Title 6">
            <a:extLst>
              <a:ext uri="{FF2B5EF4-FFF2-40B4-BE49-F238E27FC236}">
                <a16:creationId xmlns:a16="http://schemas.microsoft.com/office/drawing/2014/main" id="{C82795C2-3F28-3A7D-749D-E1263F1DA34D}"/>
              </a:ext>
            </a:extLst>
          </p:cNvPr>
          <p:cNvSpPr txBox="1">
            <a:spLocks/>
          </p:cNvSpPr>
          <p:nvPr/>
        </p:nvSpPr>
        <p:spPr>
          <a:xfrm>
            <a:off x="582614" y="1102670"/>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Microsoft Fabric</a:t>
            </a:r>
          </a:p>
        </p:txBody>
      </p:sp>
    </p:spTree>
    <p:extLst>
      <p:ext uri="{BB962C8B-B14F-4D97-AF65-F5344CB8AC3E}">
        <p14:creationId xmlns:p14="http://schemas.microsoft.com/office/powerpoint/2010/main" val="569114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28AEFA-E3E8-37EF-74D2-12B5FCE5CABF}"/>
              </a:ext>
            </a:extLst>
          </p:cNvPr>
          <p:cNvPicPr>
            <a:picLocks noChangeAspect="1"/>
          </p:cNvPicPr>
          <p:nvPr/>
        </p:nvPicPr>
        <p:blipFill>
          <a:blip r:embed="rId2"/>
          <a:srcRect/>
          <a:stretch/>
        </p:blipFill>
        <p:spPr>
          <a:xfrm>
            <a:off x="1277398" y="1109789"/>
            <a:ext cx="9637203" cy="5416621"/>
          </a:xfrm>
          <a:prstGeom prst="rect">
            <a:avLst/>
          </a:prstGeom>
        </p:spPr>
      </p:pic>
      <p:sp>
        <p:nvSpPr>
          <p:cNvPr id="4" name="Title 6">
            <a:extLst>
              <a:ext uri="{FF2B5EF4-FFF2-40B4-BE49-F238E27FC236}">
                <a16:creationId xmlns:a16="http://schemas.microsoft.com/office/drawing/2014/main" id="{A84E9462-6B9D-8552-F70A-4CACB3D3DEA5}"/>
              </a:ext>
            </a:extLst>
          </p:cNvPr>
          <p:cNvSpPr txBox="1">
            <a:spLocks/>
          </p:cNvSpPr>
          <p:nvPr/>
        </p:nvSpPr>
        <p:spPr>
          <a:xfrm>
            <a:off x="582612" y="369192"/>
            <a:ext cx="11026774"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solidFill>
                  <a:srgbClr val="117865"/>
                </a:solidFill>
                <a:effectLst/>
                <a:uLnTx/>
                <a:uFillTx/>
                <a:latin typeface="Segoe UI Semibold"/>
                <a:ea typeface="+mn-ea"/>
                <a:cs typeface="Segoe UI" pitchFamily="34" charset="0"/>
              </a:rPr>
              <a:t>Persona Centric Experiences</a:t>
            </a:r>
          </a:p>
        </p:txBody>
      </p:sp>
    </p:spTree>
    <p:extLst>
      <p:ext uri="{BB962C8B-B14F-4D97-AF65-F5344CB8AC3E}">
        <p14:creationId xmlns:p14="http://schemas.microsoft.com/office/powerpoint/2010/main" val="3477104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A925C7F-DC41-244E-985A-B5DACDDC487B}"/>
              </a:ext>
            </a:extLst>
          </p:cNvPr>
          <p:cNvSpPr>
            <a:spLocks noGrp="1"/>
          </p:cNvSpPr>
          <p:nvPr>
            <p:ph idx="1"/>
          </p:nvPr>
        </p:nvSpPr>
        <p:spPr/>
        <p:txBody>
          <a:bodyPr>
            <a:normAutofit/>
          </a:bodyPr>
          <a:lstStyle/>
          <a:p>
            <a:pPr marL="0" indent="0">
              <a:buNone/>
            </a:pPr>
            <a:endParaRPr lang="en-US" sz="7200" dirty="0"/>
          </a:p>
          <a:p>
            <a:pPr marL="0" indent="0">
              <a:buNone/>
            </a:pPr>
            <a:r>
              <a:rPr lang="en-US" sz="7200" dirty="0"/>
              <a:t>… and everything will get Copilot</a:t>
            </a:r>
            <a:endParaRPr lang="nl-BE" sz="7200" b="1" dirty="0"/>
          </a:p>
        </p:txBody>
      </p:sp>
    </p:spTree>
    <p:extLst>
      <p:ext uri="{BB962C8B-B14F-4D97-AF65-F5344CB8AC3E}">
        <p14:creationId xmlns:p14="http://schemas.microsoft.com/office/powerpoint/2010/main" val="194390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 Template">
  <a:themeElements>
    <a:clrScheme name="AE">
      <a:dk1>
        <a:sysClr val="windowText" lastClr="000000"/>
      </a:dk1>
      <a:lt1>
        <a:sysClr val="window" lastClr="FFFFFF"/>
      </a:lt1>
      <a:dk2>
        <a:srgbClr val="7F7F7F"/>
      </a:dk2>
      <a:lt2>
        <a:srgbClr val="F2F2F2"/>
      </a:lt2>
      <a:accent1>
        <a:srgbClr val="FF8C00"/>
      </a:accent1>
      <a:accent2>
        <a:srgbClr val="FF4B28"/>
      </a:accent2>
      <a:accent3>
        <a:srgbClr val="FFBF09"/>
      </a:accent3>
      <a:accent4>
        <a:srgbClr val="D20046"/>
      </a:accent4>
      <a:accent5>
        <a:srgbClr val="71012E"/>
      </a:accent5>
      <a:accent6>
        <a:srgbClr val="000000"/>
      </a:accent6>
      <a:hlink>
        <a:srgbClr val="FF8C00"/>
      </a:hlink>
      <a:folHlink>
        <a:srgbClr val="FF4B28"/>
      </a:folHlink>
    </a:clrScheme>
    <a:fontScheme name="AE">
      <a:majorFont>
        <a:latin typeface="Century Gothic Bold"/>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_PPT_Template_Final" id="{8A8A7240-7B30-1E45-84D0-435844989B9B}" vid="{FD755898-5489-C44C-BEE6-2C280AB2DF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ass-summit-2022-speaker-template</Template>
  <TotalTime>16502</TotalTime>
  <Words>1547</Words>
  <Application>Microsoft Office PowerPoint</Application>
  <PresentationFormat>Widescreen</PresentationFormat>
  <Paragraphs>441</Paragraphs>
  <Slides>68</Slides>
  <Notes>6</Notes>
  <HiddenSlides>0</HiddenSlides>
  <MMClips>4</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9" baseType="lpstr">
      <vt:lpstr>Arial</vt:lpstr>
      <vt:lpstr>Calibri</vt:lpstr>
      <vt:lpstr>Century Gothic</vt:lpstr>
      <vt:lpstr>Century Gothic Bold</vt:lpstr>
      <vt:lpstr>IBM Plex Sans</vt:lpstr>
      <vt:lpstr>mastodon-font-sans-serif</vt:lpstr>
      <vt:lpstr>Segoe UI</vt:lpstr>
      <vt:lpstr>Segoe UI Semibold</vt:lpstr>
      <vt:lpstr>Wingdings</vt:lpstr>
      <vt:lpstr>AE Template</vt:lpstr>
      <vt:lpstr>think-cell Slide</vt:lpstr>
      <vt:lpstr>Microsoft Fabric for Dummies</vt:lpstr>
      <vt:lpstr>contact</vt:lpstr>
      <vt:lpstr>PowerPoint Presentation</vt:lpstr>
      <vt:lpstr>I am the Chief Data Officer and don’t want to be the Chief Integration Officer</vt:lpstr>
      <vt:lpstr>the modern data stack</vt:lpstr>
      <vt:lpstr>PowerPoint Presentation</vt:lpstr>
      <vt:lpstr>PowerPoint Presentation</vt:lpstr>
      <vt:lpstr>PowerPoint Presentation</vt:lpstr>
      <vt:lpstr>PowerPoint Presentation</vt:lpstr>
      <vt:lpstr>data storage</vt:lpstr>
      <vt:lpstr>PowerPoint Presentation</vt:lpstr>
      <vt:lpstr>PowerPoint Presentation</vt:lpstr>
      <vt:lpstr>PowerPoint Presentation</vt:lpstr>
      <vt:lpstr>PowerPoint Presentation</vt:lpstr>
      <vt:lpstr>PowerPoint Presentation</vt:lpstr>
      <vt:lpstr>PowerPoint Presentation</vt:lpstr>
      <vt:lpstr>data engineering</vt:lpstr>
      <vt:lpstr>PowerPoint Presentation</vt:lpstr>
      <vt:lpstr>PowerPoint Presentation</vt:lpstr>
      <vt:lpstr>PowerPoint Presentation</vt:lpstr>
      <vt:lpstr>PowerPoint Presentation</vt:lpstr>
      <vt:lpstr>PowerPoint Presentation</vt:lpstr>
      <vt:lpstr>  demo</vt:lpstr>
      <vt:lpstr>data warehouse</vt:lpstr>
      <vt:lpstr>PowerPoint Presentation</vt:lpstr>
      <vt:lpstr>PowerPoint Presentation</vt:lpstr>
      <vt:lpstr>PowerPoint Presentation</vt:lpstr>
      <vt:lpstr>PowerPoint Presentation</vt:lpstr>
      <vt:lpstr>PowerPoint Presentation</vt:lpstr>
      <vt:lpstr>inges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rroring</vt:lpstr>
      <vt:lpstr>data science</vt:lpstr>
      <vt:lpstr>PowerPoint Presentation</vt:lpstr>
      <vt:lpstr>PowerPoint Presentation</vt:lpstr>
      <vt:lpstr>PowerPoint Presentation</vt:lpstr>
      <vt:lpstr>PowerPoint Presentation</vt:lpstr>
      <vt:lpstr>real-time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siness intelligence</vt:lpstr>
      <vt:lpstr>PowerPoint Presentation</vt:lpstr>
      <vt:lpstr>PowerPoint Presentation</vt:lpstr>
      <vt:lpstr>PowerPoint Presentation</vt:lpstr>
      <vt:lpstr>PowerPoint Presentation</vt:lpstr>
      <vt:lpstr>data activator</vt:lpstr>
      <vt:lpstr>PowerPoint Presentation</vt:lpstr>
      <vt:lpstr>PowerPoint Presentation</vt:lpstr>
      <vt:lpstr>pricing</vt:lpstr>
      <vt:lpstr>PowerPoint Presentation</vt:lpstr>
      <vt:lpstr>PowerPoint Presentation</vt:lpstr>
      <vt:lpstr>  conclusion</vt:lpstr>
      <vt:lpstr>PowerPoint Presentation</vt:lpstr>
      <vt:lpstr>PowerPoint Presentation</vt:lpstr>
      <vt:lpstr>PowerPoint Presentation</vt:lpstr>
      <vt:lpstr>resources</vt:lpstr>
      <vt:lpstr>  thank you</vt:lpstr>
    </vt:vector>
  </TitlesOfParts>
  <Company>A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e Your SSIS Skills to Azure Data Factory</dc:title>
  <dc:creator>Koen Verbeeck</dc:creator>
  <cp:lastModifiedBy>Koen Verbeeck</cp:lastModifiedBy>
  <cp:revision>8</cp:revision>
  <dcterms:created xsi:type="dcterms:W3CDTF">2022-08-23T10:53:58Z</dcterms:created>
  <dcterms:modified xsi:type="dcterms:W3CDTF">2023-11-24T10:33:58Z</dcterms:modified>
</cp:coreProperties>
</file>